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5" r:id="rId4"/>
  </p:sldMasterIdLst>
  <p:notesMasterIdLst>
    <p:notesMasterId r:id="rId27"/>
  </p:notesMasterIdLst>
  <p:sldIdLst>
    <p:sldId id="6630" r:id="rId5"/>
    <p:sldId id="6640" r:id="rId6"/>
    <p:sldId id="6637" r:id="rId7"/>
    <p:sldId id="6593" r:id="rId8"/>
    <p:sldId id="6636" r:id="rId9"/>
    <p:sldId id="6527" r:id="rId10"/>
    <p:sldId id="6533" r:id="rId11"/>
    <p:sldId id="6501" r:id="rId12"/>
    <p:sldId id="6504" r:id="rId13"/>
    <p:sldId id="6503" r:id="rId14"/>
    <p:sldId id="6487" r:id="rId15"/>
    <p:sldId id="6517" r:id="rId16"/>
    <p:sldId id="6480" r:id="rId17"/>
    <p:sldId id="6646" r:id="rId18"/>
    <p:sldId id="6641" r:id="rId19"/>
    <p:sldId id="6642" r:id="rId20"/>
    <p:sldId id="6643" r:id="rId21"/>
    <p:sldId id="6645" r:id="rId22"/>
    <p:sldId id="6647" r:id="rId23"/>
    <p:sldId id="6481" r:id="rId24"/>
    <p:sldId id="6644" r:id="rId25"/>
    <p:sldId id="6499" r:id="rId26"/>
  </p:sldIdLst>
  <p:sldSz cx="12192000" cy="6858000"/>
  <p:notesSz cx="6858000" cy="91440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s" id="{C697A07D-1170-466D-8492-D9866A112650}">
          <p14:sldIdLst>
            <p14:sldId id="6630"/>
          </p14:sldIdLst>
        </p14:section>
        <p14:section name="Table of contents" id="{E5DF7897-4D4E-41C2-8585-C3F20F594A47}">
          <p14:sldIdLst>
            <p14:sldId id="6640"/>
          </p14:sldIdLst>
        </p14:section>
        <p14:section name="Section title slides" id="{F3F5CF11-DCB8-4487-B6D9-19BCB2EE8F10}">
          <p14:sldIdLst>
            <p14:sldId id="6637"/>
          </p14:sldIdLst>
        </p14:section>
        <p14:section name="Populated template slides (Light theme)" id="{0068DE59-6C46-480B-84C9-7F845BD23EC3}">
          <p14:sldIdLst>
            <p14:sldId id="6593"/>
            <p14:sldId id="6636"/>
            <p14:sldId id="6527"/>
            <p14:sldId id="6533"/>
            <p14:sldId id="6501"/>
            <p14:sldId id="6504"/>
            <p14:sldId id="6503"/>
            <p14:sldId id="6487"/>
          </p14:sldIdLst>
        </p14:section>
        <p14:section name="Content slides (Light theme)" id="{8DD9C9EF-E502-4A59-9B8A-A8A2A7F29782}">
          <p14:sldIdLst>
            <p14:sldId id="6517"/>
            <p14:sldId id="6480"/>
            <p14:sldId id="6646"/>
            <p14:sldId id="6641"/>
            <p14:sldId id="6642"/>
            <p14:sldId id="6643"/>
            <p14:sldId id="6645"/>
            <p14:sldId id="6647"/>
            <p14:sldId id="6481"/>
            <p14:sldId id="6644"/>
          </p14:sldIdLst>
        </p14:section>
        <p14:section name="More information slides" id="{A5E46C05-B504-4E5C-A0AC-750AAE0BA9D1}">
          <p14:sldIdLst>
            <p14:sldId id="6499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A0B610A-91FA-3ADC-F9EC-A2E7FCFEDA97}" name="Kitrina Shanahan" initials="KS" userId="S::kshanahan@hub24.com.au::335e7e7e-c04b-46da-8bc5-230fcd8c30de" providerId="AD"/>
  <p188:author id="{300BB359-C029-9477-BF3A-EAB2699CC590}" name="Emma Brien" initials="EB" userId="S::ebrien@hub24.com.au::074bae59-2ccd-427b-9804-f1d981a5fa34" providerId="AD"/>
  <p188:author id="{3CC5B365-9771-B56F-F322-B0768325B9A2}" name="Samantha Pierce" initials="SP" userId="S::spierce@hub24.com.au::1462f2a7-bcca-4ae9-ae8c-e8811391f2c9" providerId="AD"/>
  <p188:author id="{938E7779-3816-D7AC-13EB-B14390F7FFCF}" name="Anna Phommavanh" initials="AP" userId="S::aphommavanh@hub24.com.au::93f928c0-26e9-4ba7-b90f-88082d79ca04" providerId="AD"/>
  <p188:author id="{D45B8C7A-5BE3-17F6-E6F8-244A98A1E58E}" name="Adam Solomon" initials="AS" userId="S::adam.solomon@class.com.au::a991ec0c-3a25-445a-8010-0a7a9f6400c5" providerId="AD"/>
  <p188:author id="{09112A97-BD7F-A24B-E7F4-13F95851EF06}" name="Austin Uebel" initials="AU" userId="S::auebel@hub24.com.au::04c256cb-56cb-4c5f-a018-99814ed4f262" providerId="AD"/>
  <p188:author id="{A34A81A6-C2A3-B4B8-A9B9-776F512DBA57}" name="Donny Quipanes" initials="DQ" userId="S::dquipanes@hub24.com.au::0747b810-68ed-46fd-88fd-3b695ca965e4" providerId="AD"/>
  <p188:author id="{1DA971BD-B754-B695-2724-81F27FEE3BB4}" name="Mary Cao" initials="MC" userId="S::mcao@hub24.com.au::1ee59e60-14bc-41d7-875b-b3bbb68cb14f" providerId="AD"/>
  <p188:author id="{8068E4BE-E8EE-8277-AC78-F23F853C746A}" name="Anne McDonnell" initials="AM" userId="S::amcdonnell@hub24.com.au::5c32c4f1-062e-43c0-a1ed-77f12c776a64" providerId="AD"/>
  <p188:author id="{2DB948DE-1FAD-242B-3607-C7BD92D964A9}" name="adam.solomon@class.com.au" initials="ad" userId="S::urn:spo:guest#adam.solomon@class.com.au::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3D84"/>
    <a:srgbClr val="1F2D68"/>
    <a:srgbClr val="F5F5F5"/>
    <a:srgbClr val="0099C8"/>
    <a:srgbClr val="1B2654"/>
    <a:srgbClr val="F0F0F0"/>
    <a:srgbClr val="2C726B"/>
    <a:srgbClr val="368A82"/>
    <a:srgbClr val="030303"/>
    <a:srgbClr val="0522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D344DF4-209D-47CA-9750-B70670A317F0}" v="17" dt="2024-01-25T06:16:10.03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ewton Long" userId="f54bfaae-b1b8-49c4-b729-981136b160c9" providerId="ADAL" clId="{AD344DF4-209D-47CA-9750-B70670A317F0}"/>
    <pc:docChg chg="undo custSel addSld delSld modSld addSection delSection modSection">
      <pc:chgData name="Newton Long" userId="f54bfaae-b1b8-49c4-b729-981136b160c9" providerId="ADAL" clId="{AD344DF4-209D-47CA-9750-B70670A317F0}" dt="2024-01-29T23:21:33.184" v="5285" actId="20577"/>
      <pc:docMkLst>
        <pc:docMk/>
      </pc:docMkLst>
      <pc:sldChg chg="del">
        <pc:chgData name="Newton Long" userId="f54bfaae-b1b8-49c4-b729-981136b160c9" providerId="ADAL" clId="{AD344DF4-209D-47CA-9750-B70670A317F0}" dt="2024-01-25T06:18:50.221" v="2868" actId="47"/>
        <pc:sldMkLst>
          <pc:docMk/>
          <pc:sldMk cId="1341875388" sldId="6477"/>
        </pc:sldMkLst>
      </pc:sldChg>
      <pc:sldChg chg="modSp mod">
        <pc:chgData name="Newton Long" userId="f54bfaae-b1b8-49c4-b729-981136b160c9" providerId="ADAL" clId="{AD344DF4-209D-47CA-9750-B70670A317F0}" dt="2024-01-29T23:21:33.184" v="5285" actId="20577"/>
        <pc:sldMkLst>
          <pc:docMk/>
          <pc:sldMk cId="2279143306" sldId="6480"/>
        </pc:sldMkLst>
        <pc:spChg chg="mod">
          <ac:chgData name="Newton Long" userId="f54bfaae-b1b8-49c4-b729-981136b160c9" providerId="ADAL" clId="{AD344DF4-209D-47CA-9750-B70670A317F0}" dt="2024-01-25T06:19:22.280" v="2929" actId="20577"/>
          <ac:spMkLst>
            <pc:docMk/>
            <pc:sldMk cId="2279143306" sldId="6480"/>
            <ac:spMk id="5" creationId="{BD38523B-7650-28FB-4007-7741FE7C0B98}"/>
          </ac:spMkLst>
        </pc:spChg>
        <pc:spChg chg="mod">
          <ac:chgData name="Newton Long" userId="f54bfaae-b1b8-49c4-b729-981136b160c9" providerId="ADAL" clId="{AD344DF4-209D-47CA-9750-B70670A317F0}" dt="2024-01-25T06:30:32.382" v="4024" actId="20577"/>
          <ac:spMkLst>
            <pc:docMk/>
            <pc:sldMk cId="2279143306" sldId="6480"/>
            <ac:spMk id="6" creationId="{2C4BF2F0-AD4D-C16A-BC43-0ADE161C7EB8}"/>
          </ac:spMkLst>
        </pc:spChg>
        <pc:spChg chg="mod">
          <ac:chgData name="Newton Long" userId="f54bfaae-b1b8-49c4-b729-981136b160c9" providerId="ADAL" clId="{AD344DF4-209D-47CA-9750-B70670A317F0}" dt="2024-01-29T23:21:33.184" v="5285" actId="20577"/>
          <ac:spMkLst>
            <pc:docMk/>
            <pc:sldMk cId="2279143306" sldId="6480"/>
            <ac:spMk id="7" creationId="{CE382172-38B8-6E5F-0E25-DDED8BADE578}"/>
          </ac:spMkLst>
        </pc:spChg>
      </pc:sldChg>
      <pc:sldChg chg="modSp mod">
        <pc:chgData name="Newton Long" userId="f54bfaae-b1b8-49c4-b729-981136b160c9" providerId="ADAL" clId="{AD344DF4-209D-47CA-9750-B70670A317F0}" dt="2024-01-29T22:51:22.074" v="5128" actId="20577"/>
        <pc:sldMkLst>
          <pc:docMk/>
          <pc:sldMk cId="4179877225" sldId="6481"/>
        </pc:sldMkLst>
        <pc:spChg chg="mod">
          <ac:chgData name="Newton Long" userId="f54bfaae-b1b8-49c4-b729-981136b160c9" providerId="ADAL" clId="{AD344DF4-209D-47CA-9750-B70670A317F0}" dt="2024-01-29T22:34:01.678" v="4078" actId="20577"/>
          <ac:spMkLst>
            <pc:docMk/>
            <pc:sldMk cId="4179877225" sldId="6481"/>
            <ac:spMk id="5" creationId="{62DEA048-33BD-1DBF-B76C-90749CC69652}"/>
          </ac:spMkLst>
        </pc:spChg>
        <pc:spChg chg="mod">
          <ac:chgData name="Newton Long" userId="f54bfaae-b1b8-49c4-b729-981136b160c9" providerId="ADAL" clId="{AD344DF4-209D-47CA-9750-B70670A317F0}" dt="2024-01-29T22:34:31.542" v="4325" actId="20577"/>
          <ac:spMkLst>
            <pc:docMk/>
            <pc:sldMk cId="4179877225" sldId="6481"/>
            <ac:spMk id="6" creationId="{DF2CC453-0F25-D39E-ADB7-23766690CDE3}"/>
          </ac:spMkLst>
        </pc:spChg>
        <pc:spChg chg="mod">
          <ac:chgData name="Newton Long" userId="f54bfaae-b1b8-49c4-b729-981136b160c9" providerId="ADAL" clId="{AD344DF4-209D-47CA-9750-B70670A317F0}" dt="2024-01-29T22:51:22.074" v="5128" actId="20577"/>
          <ac:spMkLst>
            <pc:docMk/>
            <pc:sldMk cId="4179877225" sldId="6481"/>
            <ac:spMk id="7" creationId="{25C21291-C7E1-19D0-9D4C-2065E19C3A0F}"/>
          </ac:spMkLst>
        </pc:spChg>
        <pc:spChg chg="mod">
          <ac:chgData name="Newton Long" userId="f54bfaae-b1b8-49c4-b729-981136b160c9" providerId="ADAL" clId="{AD344DF4-209D-47CA-9750-B70670A317F0}" dt="2024-01-29T22:35:56.537" v="4562" actId="20577"/>
          <ac:spMkLst>
            <pc:docMk/>
            <pc:sldMk cId="4179877225" sldId="6481"/>
            <ac:spMk id="8" creationId="{3E02CF52-02C2-E020-FF49-21D4157E9E81}"/>
          </ac:spMkLst>
        </pc:spChg>
        <pc:spChg chg="mod">
          <ac:chgData name="Newton Long" userId="f54bfaae-b1b8-49c4-b729-981136b160c9" providerId="ADAL" clId="{AD344DF4-209D-47CA-9750-B70670A317F0}" dt="2024-01-29T22:45:39.622" v="4993" actId="20577"/>
          <ac:spMkLst>
            <pc:docMk/>
            <pc:sldMk cId="4179877225" sldId="6481"/>
            <ac:spMk id="9" creationId="{A97398A4-5731-9776-E692-5D8E84D3C79E}"/>
          </ac:spMkLst>
        </pc:spChg>
      </pc:sldChg>
      <pc:sldChg chg="addSp delSp modSp mod">
        <pc:chgData name="Newton Long" userId="f54bfaae-b1b8-49c4-b729-981136b160c9" providerId="ADAL" clId="{AD344DF4-209D-47CA-9750-B70670A317F0}" dt="2024-01-25T05:32:40.734" v="2035" actId="732"/>
        <pc:sldMkLst>
          <pc:docMk/>
          <pc:sldMk cId="2537307179" sldId="6487"/>
        </pc:sldMkLst>
        <pc:spChg chg="add del mod">
          <ac:chgData name="Newton Long" userId="f54bfaae-b1b8-49c4-b729-981136b160c9" providerId="ADAL" clId="{AD344DF4-209D-47CA-9750-B70670A317F0}" dt="2024-01-25T05:31:53.987" v="2022" actId="22"/>
          <ac:spMkLst>
            <pc:docMk/>
            <pc:sldMk cId="2537307179" sldId="6487"/>
            <ac:spMk id="6" creationId="{9A6D1F51-94FA-2ABC-A03C-B2C098F70DBD}"/>
          </ac:spMkLst>
        </pc:spChg>
        <pc:spChg chg="mod">
          <ac:chgData name="Newton Long" userId="f54bfaae-b1b8-49c4-b729-981136b160c9" providerId="ADAL" clId="{AD344DF4-209D-47CA-9750-B70670A317F0}" dt="2024-01-25T05:29:14.615" v="2011" actId="20577"/>
          <ac:spMkLst>
            <pc:docMk/>
            <pc:sldMk cId="2537307179" sldId="6487"/>
            <ac:spMk id="21" creationId="{037067D9-B178-3813-80F8-CD060468B30D}"/>
          </ac:spMkLst>
        </pc:spChg>
        <pc:spChg chg="del">
          <ac:chgData name="Newton Long" userId="f54bfaae-b1b8-49c4-b729-981136b160c9" providerId="ADAL" clId="{AD344DF4-209D-47CA-9750-B70670A317F0}" dt="2024-01-25T05:31:30.205" v="2012" actId="22"/>
          <ac:spMkLst>
            <pc:docMk/>
            <pc:sldMk cId="2537307179" sldId="6487"/>
            <ac:spMk id="22" creationId="{F0985F92-AA1E-5822-69D3-9BBD4CFEC441}"/>
          </ac:spMkLst>
        </pc:spChg>
        <pc:picChg chg="add del mod ord">
          <ac:chgData name="Newton Long" userId="f54bfaae-b1b8-49c4-b729-981136b160c9" providerId="ADAL" clId="{AD344DF4-209D-47CA-9750-B70670A317F0}" dt="2024-01-25T05:31:51.690" v="2021" actId="478"/>
          <ac:picMkLst>
            <pc:docMk/>
            <pc:sldMk cId="2537307179" sldId="6487"/>
            <ac:picMk id="4" creationId="{743E46F0-2E4B-F12E-9D32-0A3385AA36DE}"/>
          </ac:picMkLst>
        </pc:picChg>
        <pc:picChg chg="add mod ord modCrop">
          <ac:chgData name="Newton Long" userId="f54bfaae-b1b8-49c4-b729-981136b160c9" providerId="ADAL" clId="{AD344DF4-209D-47CA-9750-B70670A317F0}" dt="2024-01-25T05:32:40.734" v="2035" actId="732"/>
          <ac:picMkLst>
            <pc:docMk/>
            <pc:sldMk cId="2537307179" sldId="6487"/>
            <ac:picMk id="8" creationId="{CDC932AB-F47D-2A39-7522-169333E07AB2}"/>
          </ac:picMkLst>
        </pc:picChg>
      </pc:sldChg>
      <pc:sldChg chg="modSp add del mod">
        <pc:chgData name="Newton Long" userId="f54bfaae-b1b8-49c4-b729-981136b160c9" providerId="ADAL" clId="{AD344DF4-209D-47CA-9750-B70670A317F0}" dt="2024-01-25T06:19:03.757" v="2873" actId="47"/>
        <pc:sldMkLst>
          <pc:docMk/>
          <pc:sldMk cId="4203408371" sldId="6499"/>
        </pc:sldMkLst>
        <pc:spChg chg="mod">
          <ac:chgData name="Newton Long" userId="f54bfaae-b1b8-49c4-b729-981136b160c9" providerId="ADAL" clId="{AD344DF4-209D-47CA-9750-B70670A317F0}" dt="2024-01-25T06:16:10.038" v="2852" actId="33524"/>
          <ac:spMkLst>
            <pc:docMk/>
            <pc:sldMk cId="4203408371" sldId="6499"/>
            <ac:spMk id="5" creationId="{E49BBB7C-A2D1-6220-1F22-8B4999B48814}"/>
          </ac:spMkLst>
        </pc:spChg>
      </pc:sldChg>
      <pc:sldChg chg="addSp delSp modSp mod">
        <pc:chgData name="Newton Long" userId="f54bfaae-b1b8-49c4-b729-981136b160c9" providerId="ADAL" clId="{AD344DF4-209D-47CA-9750-B70670A317F0}" dt="2024-01-25T05:07:59.243" v="868" actId="20577"/>
        <pc:sldMkLst>
          <pc:docMk/>
          <pc:sldMk cId="1840911137" sldId="6501"/>
        </pc:sldMkLst>
        <pc:spChg chg="del">
          <ac:chgData name="Newton Long" userId="f54bfaae-b1b8-49c4-b729-981136b160c9" providerId="ADAL" clId="{AD344DF4-209D-47CA-9750-B70670A317F0}" dt="2024-01-25T05:02:54.256" v="470" actId="22"/>
          <ac:spMkLst>
            <pc:docMk/>
            <pc:sldMk cId="1840911137" sldId="6501"/>
            <ac:spMk id="3" creationId="{1AD00747-579B-FAD0-68AC-490BB05DE2F8}"/>
          </ac:spMkLst>
        </pc:spChg>
        <pc:spChg chg="mod">
          <ac:chgData name="Newton Long" userId="f54bfaae-b1b8-49c4-b729-981136b160c9" providerId="ADAL" clId="{AD344DF4-209D-47CA-9750-B70670A317F0}" dt="2024-01-25T04:56:46.011" v="21" actId="20577"/>
          <ac:spMkLst>
            <pc:docMk/>
            <pc:sldMk cId="1840911137" sldId="6501"/>
            <ac:spMk id="4" creationId="{D81AF174-A9E3-CEC0-7108-FF363CE0C448}"/>
          </ac:spMkLst>
        </pc:spChg>
        <pc:spChg chg="mod">
          <ac:chgData name="Newton Long" userId="f54bfaae-b1b8-49c4-b729-981136b160c9" providerId="ADAL" clId="{AD344DF4-209D-47CA-9750-B70670A317F0}" dt="2024-01-25T05:07:59.243" v="868" actId="20577"/>
          <ac:spMkLst>
            <pc:docMk/>
            <pc:sldMk cId="1840911137" sldId="6501"/>
            <ac:spMk id="14" creationId="{0D55C17C-09C1-988C-8A9B-238619E1ABB3}"/>
          </ac:spMkLst>
        </pc:spChg>
        <pc:picChg chg="add mod ord">
          <ac:chgData name="Newton Long" userId="f54bfaae-b1b8-49c4-b729-981136b160c9" providerId="ADAL" clId="{AD344DF4-209D-47CA-9750-B70670A317F0}" dt="2024-01-25T05:03:11.582" v="476" actId="14100"/>
          <ac:picMkLst>
            <pc:docMk/>
            <pc:sldMk cId="1840911137" sldId="6501"/>
            <ac:picMk id="5" creationId="{A6C80F45-A584-DB06-9492-AB5292545DC8}"/>
          </ac:picMkLst>
        </pc:picChg>
      </pc:sldChg>
      <pc:sldChg chg="addSp delSp modSp mod">
        <pc:chgData name="Newton Long" userId="f54bfaae-b1b8-49c4-b729-981136b160c9" providerId="ADAL" clId="{AD344DF4-209D-47CA-9750-B70670A317F0}" dt="2024-01-29T22:57:38.234" v="5191" actId="20577"/>
        <pc:sldMkLst>
          <pc:docMk/>
          <pc:sldMk cId="1270297612" sldId="6503"/>
        </pc:sldMkLst>
        <pc:spChg chg="mod">
          <ac:chgData name="Newton Long" userId="f54bfaae-b1b8-49c4-b729-981136b160c9" providerId="ADAL" clId="{AD344DF4-209D-47CA-9750-B70670A317F0}" dt="2024-01-29T22:57:38.234" v="5191" actId="20577"/>
          <ac:spMkLst>
            <pc:docMk/>
            <pc:sldMk cId="1270297612" sldId="6503"/>
            <ac:spMk id="2" creationId="{5B9A5557-3FA1-652A-C35F-D1E036538687}"/>
          </ac:spMkLst>
        </pc:spChg>
        <pc:spChg chg="add mod">
          <ac:chgData name="Newton Long" userId="f54bfaae-b1b8-49c4-b729-981136b160c9" providerId="ADAL" clId="{AD344DF4-209D-47CA-9750-B70670A317F0}" dt="2024-01-25T05:28:29.164" v="1964" actId="20577"/>
          <ac:spMkLst>
            <pc:docMk/>
            <pc:sldMk cId="1270297612" sldId="6503"/>
            <ac:spMk id="4" creationId="{AAE925F5-6657-B492-CACB-323E87C8721E}"/>
          </ac:spMkLst>
        </pc:spChg>
        <pc:spChg chg="mod">
          <ac:chgData name="Newton Long" userId="f54bfaae-b1b8-49c4-b729-981136b160c9" providerId="ADAL" clId="{AD344DF4-209D-47CA-9750-B70670A317F0}" dt="2024-01-25T05:26:53.731" v="1920" actId="20577"/>
          <ac:spMkLst>
            <pc:docMk/>
            <pc:sldMk cId="1270297612" sldId="6503"/>
            <ac:spMk id="10" creationId="{97774FB8-0D19-8CFE-FC5C-B91647EF8785}"/>
          </ac:spMkLst>
        </pc:spChg>
        <pc:graphicFrameChg chg="del">
          <ac:chgData name="Newton Long" userId="f54bfaae-b1b8-49c4-b729-981136b160c9" providerId="ADAL" clId="{AD344DF4-209D-47CA-9750-B70670A317F0}" dt="2024-01-25T05:21:21.034" v="1512" actId="478"/>
          <ac:graphicFrameMkLst>
            <pc:docMk/>
            <pc:sldMk cId="1270297612" sldId="6503"/>
            <ac:graphicFrameMk id="7" creationId="{2F1880DF-88A8-4AFD-BFA8-4793CEF6474B}"/>
          </ac:graphicFrameMkLst>
        </pc:graphicFrameChg>
      </pc:sldChg>
      <pc:sldChg chg="addSp delSp modSp mod">
        <pc:chgData name="Newton Long" userId="f54bfaae-b1b8-49c4-b729-981136b160c9" providerId="ADAL" clId="{AD344DF4-209D-47CA-9750-B70670A317F0}" dt="2024-01-29T22:57:51.014" v="5203" actId="20577"/>
        <pc:sldMkLst>
          <pc:docMk/>
          <pc:sldMk cId="3125477901" sldId="6504"/>
        </pc:sldMkLst>
        <pc:spChg chg="mod">
          <ac:chgData name="Newton Long" userId="f54bfaae-b1b8-49c4-b729-981136b160c9" providerId="ADAL" clId="{AD344DF4-209D-47CA-9750-B70670A317F0}" dt="2024-01-29T22:57:51.014" v="5203" actId="20577"/>
          <ac:spMkLst>
            <pc:docMk/>
            <pc:sldMk cId="3125477901" sldId="6504"/>
            <ac:spMk id="2" creationId="{BC171EC2-C476-6719-BB59-48C1B947FC85}"/>
          </ac:spMkLst>
        </pc:spChg>
        <pc:spChg chg="mod">
          <ac:chgData name="Newton Long" userId="f54bfaae-b1b8-49c4-b729-981136b160c9" providerId="ADAL" clId="{AD344DF4-209D-47CA-9750-B70670A317F0}" dt="2024-01-25T05:17:00.665" v="1457" actId="20577"/>
          <ac:spMkLst>
            <pc:docMk/>
            <pc:sldMk cId="3125477901" sldId="6504"/>
            <ac:spMk id="4" creationId="{CF6C18CC-6D40-E15A-0940-5501741BDBAD}"/>
          </ac:spMkLst>
        </pc:spChg>
        <pc:spChg chg="add mod">
          <ac:chgData name="Newton Long" userId="f54bfaae-b1b8-49c4-b729-981136b160c9" providerId="ADAL" clId="{AD344DF4-209D-47CA-9750-B70670A317F0}" dt="2024-01-25T05:10:59.527" v="1047" actId="5793"/>
          <ac:spMkLst>
            <pc:docMk/>
            <pc:sldMk cId="3125477901" sldId="6504"/>
            <ac:spMk id="5" creationId="{9C4952E3-F63D-EA71-FFBA-17A9BABB2382}"/>
          </ac:spMkLst>
        </pc:spChg>
        <pc:graphicFrameChg chg="del mod">
          <ac:chgData name="Newton Long" userId="f54bfaae-b1b8-49c4-b729-981136b160c9" providerId="ADAL" clId="{AD344DF4-209D-47CA-9750-B70670A317F0}" dt="2024-01-25T05:10:37.454" v="944" actId="478"/>
          <ac:graphicFrameMkLst>
            <pc:docMk/>
            <pc:sldMk cId="3125477901" sldId="6504"/>
            <ac:graphicFrameMk id="7" creationId="{2A9A4B05-F769-90DD-DF17-AAA4E30B8D7C}"/>
          </ac:graphicFrameMkLst>
        </pc:graphicFrameChg>
      </pc:sldChg>
      <pc:sldChg chg="del">
        <pc:chgData name="Newton Long" userId="f54bfaae-b1b8-49c4-b729-981136b160c9" providerId="ADAL" clId="{AD344DF4-209D-47CA-9750-B70670A317F0}" dt="2024-01-25T06:18:44.880" v="2862" actId="47"/>
        <pc:sldMkLst>
          <pc:docMk/>
          <pc:sldMk cId="1122791373" sldId="6509"/>
        </pc:sldMkLst>
      </pc:sldChg>
      <pc:sldChg chg="del">
        <pc:chgData name="Newton Long" userId="f54bfaae-b1b8-49c4-b729-981136b160c9" providerId="ADAL" clId="{AD344DF4-209D-47CA-9750-B70670A317F0}" dt="2024-01-25T06:18:43.651" v="2861" actId="47"/>
        <pc:sldMkLst>
          <pc:docMk/>
          <pc:sldMk cId="1446812724" sldId="6515"/>
        </pc:sldMkLst>
      </pc:sldChg>
      <pc:sldChg chg="del">
        <pc:chgData name="Newton Long" userId="f54bfaae-b1b8-49c4-b729-981136b160c9" providerId="ADAL" clId="{AD344DF4-209D-47CA-9750-B70670A317F0}" dt="2024-01-25T06:18:35.744" v="2855" actId="47"/>
        <pc:sldMkLst>
          <pc:docMk/>
          <pc:sldMk cId="1439257583" sldId="6516"/>
        </pc:sldMkLst>
      </pc:sldChg>
      <pc:sldChg chg="modSp mod">
        <pc:chgData name="Newton Long" userId="f54bfaae-b1b8-49c4-b729-981136b160c9" providerId="ADAL" clId="{AD344DF4-209D-47CA-9750-B70670A317F0}" dt="2024-01-25T05:48:28.380" v="2736" actId="20577"/>
        <pc:sldMkLst>
          <pc:docMk/>
          <pc:sldMk cId="1615920405" sldId="6517"/>
        </pc:sldMkLst>
        <pc:spChg chg="mod">
          <ac:chgData name="Newton Long" userId="f54bfaae-b1b8-49c4-b729-981136b160c9" providerId="ADAL" clId="{AD344DF4-209D-47CA-9750-B70670A317F0}" dt="2024-01-25T05:44:04.851" v="2122" actId="20577"/>
          <ac:spMkLst>
            <pc:docMk/>
            <pc:sldMk cId="1615920405" sldId="6517"/>
            <ac:spMk id="2" creationId="{BE21C0F1-D3B5-DC48-C51E-8A23D78EE059}"/>
          </ac:spMkLst>
        </pc:spChg>
        <pc:spChg chg="mod">
          <ac:chgData name="Newton Long" userId="f54bfaae-b1b8-49c4-b729-981136b160c9" providerId="ADAL" clId="{AD344DF4-209D-47CA-9750-B70670A317F0}" dt="2024-01-25T05:48:28.380" v="2736" actId="20577"/>
          <ac:spMkLst>
            <pc:docMk/>
            <pc:sldMk cId="1615920405" sldId="6517"/>
            <ac:spMk id="3" creationId="{3F134BC7-0C5D-37CB-B237-56008EA329B6}"/>
          </ac:spMkLst>
        </pc:spChg>
      </pc:sldChg>
      <pc:sldChg chg="del">
        <pc:chgData name="Newton Long" userId="f54bfaae-b1b8-49c4-b729-981136b160c9" providerId="ADAL" clId="{AD344DF4-209D-47CA-9750-B70670A317F0}" dt="2024-01-25T06:15:37.209" v="2744" actId="47"/>
        <pc:sldMkLst>
          <pc:docMk/>
          <pc:sldMk cId="1708914647" sldId="6589"/>
        </pc:sldMkLst>
      </pc:sldChg>
      <pc:sldChg chg="del">
        <pc:chgData name="Newton Long" userId="f54bfaae-b1b8-49c4-b729-981136b160c9" providerId="ADAL" clId="{AD344DF4-209D-47CA-9750-B70670A317F0}" dt="2024-01-25T06:15:38.062" v="2745" actId="47"/>
        <pc:sldMkLst>
          <pc:docMk/>
          <pc:sldMk cId="256486373" sldId="6590"/>
        </pc:sldMkLst>
      </pc:sldChg>
      <pc:sldChg chg="del">
        <pc:chgData name="Newton Long" userId="f54bfaae-b1b8-49c4-b729-981136b160c9" providerId="ADAL" clId="{AD344DF4-209D-47CA-9750-B70670A317F0}" dt="2024-01-25T06:15:38.635" v="2746" actId="47"/>
        <pc:sldMkLst>
          <pc:docMk/>
          <pc:sldMk cId="2331853834" sldId="6591"/>
        </pc:sldMkLst>
      </pc:sldChg>
      <pc:sldChg chg="modSp mod">
        <pc:chgData name="Newton Long" userId="f54bfaae-b1b8-49c4-b729-981136b160c9" providerId="ADAL" clId="{AD344DF4-209D-47CA-9750-B70670A317F0}" dt="2024-01-29T22:53:19.915" v="5173" actId="20577"/>
        <pc:sldMkLst>
          <pc:docMk/>
          <pc:sldMk cId="1588450798" sldId="6593"/>
        </pc:sldMkLst>
        <pc:spChg chg="mod">
          <ac:chgData name="Newton Long" userId="f54bfaae-b1b8-49c4-b729-981136b160c9" providerId="ADAL" clId="{AD344DF4-209D-47CA-9750-B70670A317F0}" dt="2024-01-29T22:53:19.915" v="5173" actId="20577"/>
          <ac:spMkLst>
            <pc:docMk/>
            <pc:sldMk cId="1588450798" sldId="6593"/>
            <ac:spMk id="30" creationId="{55295D0C-0332-B550-5FDE-B47E5A69247B}"/>
          </ac:spMkLst>
        </pc:spChg>
      </pc:sldChg>
      <pc:sldChg chg="del">
        <pc:chgData name="Newton Long" userId="f54bfaae-b1b8-49c4-b729-981136b160c9" providerId="ADAL" clId="{AD344DF4-209D-47CA-9750-B70670A317F0}" dt="2024-01-25T06:15:29.557" v="2737" actId="47"/>
        <pc:sldMkLst>
          <pc:docMk/>
          <pc:sldMk cId="2856168614" sldId="6601"/>
        </pc:sldMkLst>
      </pc:sldChg>
      <pc:sldChg chg="del">
        <pc:chgData name="Newton Long" userId="f54bfaae-b1b8-49c4-b729-981136b160c9" providerId="ADAL" clId="{AD344DF4-209D-47CA-9750-B70670A317F0}" dt="2024-01-25T06:15:31.198" v="2738" actId="47"/>
        <pc:sldMkLst>
          <pc:docMk/>
          <pc:sldMk cId="1191698705" sldId="6602"/>
        </pc:sldMkLst>
      </pc:sldChg>
      <pc:sldChg chg="del">
        <pc:chgData name="Newton Long" userId="f54bfaae-b1b8-49c4-b729-981136b160c9" providerId="ADAL" clId="{AD344DF4-209D-47CA-9750-B70670A317F0}" dt="2024-01-25T06:15:32.052" v="2739" actId="47"/>
        <pc:sldMkLst>
          <pc:docMk/>
          <pc:sldMk cId="2473045401" sldId="6603"/>
        </pc:sldMkLst>
      </pc:sldChg>
      <pc:sldChg chg="del">
        <pc:chgData name="Newton Long" userId="f54bfaae-b1b8-49c4-b729-981136b160c9" providerId="ADAL" clId="{AD344DF4-209D-47CA-9750-B70670A317F0}" dt="2024-01-25T06:15:33.025" v="2740" actId="47"/>
        <pc:sldMkLst>
          <pc:docMk/>
          <pc:sldMk cId="795113101" sldId="6604"/>
        </pc:sldMkLst>
      </pc:sldChg>
      <pc:sldChg chg="del">
        <pc:chgData name="Newton Long" userId="f54bfaae-b1b8-49c4-b729-981136b160c9" providerId="ADAL" clId="{AD344DF4-209D-47CA-9750-B70670A317F0}" dt="2024-01-25T06:15:33.879" v="2741" actId="47"/>
        <pc:sldMkLst>
          <pc:docMk/>
          <pc:sldMk cId="1451058807" sldId="6605"/>
        </pc:sldMkLst>
      </pc:sldChg>
      <pc:sldChg chg="del">
        <pc:chgData name="Newton Long" userId="f54bfaae-b1b8-49c4-b729-981136b160c9" providerId="ADAL" clId="{AD344DF4-209D-47CA-9750-B70670A317F0}" dt="2024-01-25T06:15:33.906" v="2742" actId="47"/>
        <pc:sldMkLst>
          <pc:docMk/>
          <pc:sldMk cId="399100532" sldId="6609"/>
        </pc:sldMkLst>
      </pc:sldChg>
      <pc:sldChg chg="del">
        <pc:chgData name="Newton Long" userId="f54bfaae-b1b8-49c4-b729-981136b160c9" providerId="ADAL" clId="{AD344DF4-209D-47CA-9750-B70670A317F0}" dt="2024-01-25T06:18:48.070" v="2866" actId="47"/>
        <pc:sldMkLst>
          <pc:docMk/>
          <pc:sldMk cId="1844052035" sldId="6611"/>
        </pc:sldMkLst>
      </pc:sldChg>
      <pc:sldChg chg="del">
        <pc:chgData name="Newton Long" userId="f54bfaae-b1b8-49c4-b729-981136b160c9" providerId="ADAL" clId="{AD344DF4-209D-47CA-9750-B70670A317F0}" dt="2024-01-25T06:18:48.738" v="2867" actId="47"/>
        <pc:sldMkLst>
          <pc:docMk/>
          <pc:sldMk cId="1725299860" sldId="6613"/>
        </pc:sldMkLst>
      </pc:sldChg>
      <pc:sldChg chg="del">
        <pc:chgData name="Newton Long" userId="f54bfaae-b1b8-49c4-b729-981136b160c9" providerId="ADAL" clId="{AD344DF4-209D-47CA-9750-B70670A317F0}" dt="2024-01-25T06:18:45.678" v="2863" actId="47"/>
        <pc:sldMkLst>
          <pc:docMk/>
          <pc:sldMk cId="668021382" sldId="6614"/>
        </pc:sldMkLst>
      </pc:sldChg>
      <pc:sldChg chg="del">
        <pc:chgData name="Newton Long" userId="f54bfaae-b1b8-49c4-b729-981136b160c9" providerId="ADAL" clId="{AD344DF4-209D-47CA-9750-B70670A317F0}" dt="2024-01-25T06:18:47.355" v="2865" actId="47"/>
        <pc:sldMkLst>
          <pc:docMk/>
          <pc:sldMk cId="4017769817" sldId="6615"/>
        </pc:sldMkLst>
      </pc:sldChg>
      <pc:sldChg chg="del">
        <pc:chgData name="Newton Long" userId="f54bfaae-b1b8-49c4-b729-981136b160c9" providerId="ADAL" clId="{AD344DF4-209D-47CA-9750-B70670A317F0}" dt="2024-01-25T06:18:46.574" v="2864" actId="47"/>
        <pc:sldMkLst>
          <pc:docMk/>
          <pc:sldMk cId="3813353993" sldId="6616"/>
        </pc:sldMkLst>
      </pc:sldChg>
      <pc:sldChg chg="del">
        <pc:chgData name="Newton Long" userId="f54bfaae-b1b8-49c4-b729-981136b160c9" providerId="ADAL" clId="{AD344DF4-209D-47CA-9750-B70670A317F0}" dt="2024-01-25T06:18:37.143" v="2856" actId="47"/>
        <pc:sldMkLst>
          <pc:docMk/>
          <pc:sldMk cId="1790367218" sldId="6617"/>
        </pc:sldMkLst>
      </pc:sldChg>
      <pc:sldChg chg="del">
        <pc:chgData name="Newton Long" userId="f54bfaae-b1b8-49c4-b729-981136b160c9" providerId="ADAL" clId="{AD344DF4-209D-47CA-9750-B70670A317F0}" dt="2024-01-25T06:18:38.188" v="2857" actId="47"/>
        <pc:sldMkLst>
          <pc:docMk/>
          <pc:sldMk cId="673084593" sldId="6618"/>
        </pc:sldMkLst>
      </pc:sldChg>
      <pc:sldChg chg="del">
        <pc:chgData name="Newton Long" userId="f54bfaae-b1b8-49c4-b729-981136b160c9" providerId="ADAL" clId="{AD344DF4-209D-47CA-9750-B70670A317F0}" dt="2024-01-25T06:18:39.195" v="2858" actId="47"/>
        <pc:sldMkLst>
          <pc:docMk/>
          <pc:sldMk cId="4163337083" sldId="6619"/>
        </pc:sldMkLst>
      </pc:sldChg>
      <pc:sldChg chg="del">
        <pc:chgData name="Newton Long" userId="f54bfaae-b1b8-49c4-b729-981136b160c9" providerId="ADAL" clId="{AD344DF4-209D-47CA-9750-B70670A317F0}" dt="2024-01-25T06:18:42.139" v="2859" actId="47"/>
        <pc:sldMkLst>
          <pc:docMk/>
          <pc:sldMk cId="1514883009" sldId="6620"/>
        </pc:sldMkLst>
      </pc:sldChg>
      <pc:sldChg chg="del">
        <pc:chgData name="Newton Long" userId="f54bfaae-b1b8-49c4-b729-981136b160c9" providerId="ADAL" clId="{AD344DF4-209D-47CA-9750-B70670A317F0}" dt="2024-01-25T06:18:42.911" v="2860" actId="47"/>
        <pc:sldMkLst>
          <pc:docMk/>
          <pc:sldMk cId="669050906" sldId="6622"/>
        </pc:sldMkLst>
      </pc:sldChg>
      <pc:sldChg chg="del">
        <pc:chgData name="Newton Long" userId="f54bfaae-b1b8-49c4-b729-981136b160c9" providerId="ADAL" clId="{AD344DF4-209D-47CA-9750-B70670A317F0}" dt="2024-01-25T06:15:34.967" v="2743" actId="47"/>
        <pc:sldMkLst>
          <pc:docMk/>
          <pc:sldMk cId="2169686134" sldId="6634"/>
        </pc:sldMkLst>
      </pc:sldChg>
      <pc:sldChg chg="modSp mod">
        <pc:chgData name="Newton Long" userId="f54bfaae-b1b8-49c4-b729-981136b160c9" providerId="ADAL" clId="{AD344DF4-209D-47CA-9750-B70670A317F0}" dt="2024-01-29T22:54:52.721" v="5177" actId="20577"/>
        <pc:sldMkLst>
          <pc:docMk/>
          <pc:sldMk cId="3769345890" sldId="6636"/>
        </pc:sldMkLst>
        <pc:spChg chg="mod">
          <ac:chgData name="Newton Long" userId="f54bfaae-b1b8-49c4-b729-981136b160c9" providerId="ADAL" clId="{AD344DF4-209D-47CA-9750-B70670A317F0}" dt="2024-01-29T22:54:52.721" v="5177" actId="20577"/>
          <ac:spMkLst>
            <pc:docMk/>
            <pc:sldMk cId="3769345890" sldId="6636"/>
            <ac:spMk id="28" creationId="{411EFBBB-5326-36EA-56EB-0DDAE286A2AD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130D0B-DA5C-49CE-9132-CDA4D153BB4D}" type="datetimeFigureOut">
              <a:rPr lang="en-AU" smtClean="0"/>
              <a:t>13/02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2D0993-AD24-4FFA-A034-5D23CDBB9A3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110250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indent="-285750" algn="ctr">
              <a:buClr>
                <a:schemeClr val="accent4"/>
              </a:buClr>
              <a:buSzPct val="141000"/>
              <a:buFont typeface="Arial" panose="020B0604020202020204" pitchFamily="34" charset="0"/>
              <a:buChar char="•"/>
            </a:pPr>
            <a:endParaRPr lang="en-AU" dirty="0">
              <a:solidFill>
                <a:schemeClr val="bg1"/>
              </a:solidFill>
            </a:endParaRPr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AD8877-FFC4-46B8-9E0B-A42B10E6BA3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6639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9D9F76-471C-40F9-F0B3-C51ACA672C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98804" y="2351552"/>
            <a:ext cx="5497196" cy="1311128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4400" b="0" spc="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0253580-FCEF-9239-7944-8C636B0F40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98804" y="4140835"/>
            <a:ext cx="5497196" cy="341632"/>
          </a:xfrm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0">
                <a:solidFill>
                  <a:schemeClr val="accent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512100B-243E-9D34-29B7-9C870823187F}"/>
              </a:ext>
            </a:extLst>
          </p:cNvPr>
          <p:cNvSpPr>
            <a:spLocks noGrp="1"/>
          </p:cNvSpPr>
          <p:nvPr userDrawn="1">
            <p:ph type="pic" sz="quarter" idx="10"/>
          </p:nvPr>
        </p:nvSpPr>
        <p:spPr>
          <a:xfrm>
            <a:off x="4126399" y="714989"/>
            <a:ext cx="7825081" cy="6143011"/>
          </a:xfrm>
          <a:custGeom>
            <a:avLst/>
            <a:gdLst>
              <a:gd name="connsiteX0" fmla="*/ 253200 w 7825081"/>
              <a:gd name="connsiteY0" fmla="*/ 4717463 h 6143011"/>
              <a:gd name="connsiteX1" fmla="*/ 3083554 w 7825081"/>
              <a:gd name="connsiteY1" fmla="*/ 4732777 h 6143011"/>
              <a:gd name="connsiteX2" fmla="*/ 3327704 w 7825081"/>
              <a:gd name="connsiteY2" fmla="*/ 4979584 h 6143011"/>
              <a:gd name="connsiteX3" fmla="*/ 3321409 w 7825081"/>
              <a:gd name="connsiteY3" fmla="*/ 6143011 h 6143011"/>
              <a:gd name="connsiteX4" fmla="*/ 0 w 7825081"/>
              <a:gd name="connsiteY4" fmla="*/ 6143011 h 6143011"/>
              <a:gd name="connsiteX5" fmla="*/ 6392 w 7825081"/>
              <a:gd name="connsiteY5" fmla="*/ 4961615 h 6143011"/>
              <a:gd name="connsiteX6" fmla="*/ 253200 w 7825081"/>
              <a:gd name="connsiteY6" fmla="*/ 4717463 h 6143011"/>
              <a:gd name="connsiteX7" fmla="*/ 2545440 w 7825081"/>
              <a:gd name="connsiteY7" fmla="*/ 0 h 6143011"/>
              <a:gd name="connsiteX8" fmla="*/ 2569670 w 7825081"/>
              <a:gd name="connsiteY8" fmla="*/ 2551 h 6143011"/>
              <a:gd name="connsiteX9" fmla="*/ 2594538 w 7825081"/>
              <a:gd name="connsiteY9" fmla="*/ 2550 h 6143011"/>
              <a:gd name="connsiteX10" fmla="*/ 2615579 w 7825081"/>
              <a:gd name="connsiteY10" fmla="*/ 7014 h 6143011"/>
              <a:gd name="connsiteX11" fmla="*/ 7824934 w 7825081"/>
              <a:gd name="connsiteY11" fmla="*/ 5956965 h 6143011"/>
              <a:gd name="connsiteX12" fmla="*/ 7823932 w 7825081"/>
              <a:gd name="connsiteY12" fmla="*/ 6143011 h 6143011"/>
              <a:gd name="connsiteX13" fmla="*/ 4477421 w 7825081"/>
              <a:gd name="connsiteY13" fmla="*/ 6143011 h 6143011"/>
              <a:gd name="connsiteX14" fmla="*/ 4479024 w 7825081"/>
              <a:gd name="connsiteY14" fmla="*/ 5847615 h 6143011"/>
              <a:gd name="connsiteX15" fmla="*/ 2546716 w 7825081"/>
              <a:gd name="connsiteY15" fmla="*/ 2983743 h 6143011"/>
              <a:gd name="connsiteX16" fmla="*/ 2536833 w 7825081"/>
              <a:gd name="connsiteY16" fmla="*/ 2983742 h 6143011"/>
              <a:gd name="connsiteX17" fmla="*/ 2292624 w 7825081"/>
              <a:gd name="connsiteY17" fmla="*/ 2736666 h 6143011"/>
              <a:gd name="connsiteX18" fmla="*/ 2306014 w 7825081"/>
              <a:gd name="connsiteY18" fmla="*/ 246441 h 6143011"/>
              <a:gd name="connsiteX19" fmla="*/ 2545441 w 7825081"/>
              <a:gd name="connsiteY19" fmla="*/ 3826 h 6143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825081" h="6143011">
                <a:moveTo>
                  <a:pt x="253200" y="4717463"/>
                </a:moveTo>
                <a:lnTo>
                  <a:pt x="3083554" y="4732777"/>
                </a:lnTo>
                <a:cubicBezTo>
                  <a:pt x="3219044" y="4733510"/>
                  <a:pt x="3328437" y="4844092"/>
                  <a:pt x="3327704" y="4979584"/>
                </a:cubicBezTo>
                <a:lnTo>
                  <a:pt x="3321409" y="6143011"/>
                </a:lnTo>
                <a:lnTo>
                  <a:pt x="0" y="6143011"/>
                </a:lnTo>
                <a:lnTo>
                  <a:pt x="6392" y="4961615"/>
                </a:lnTo>
                <a:cubicBezTo>
                  <a:pt x="7124" y="4826122"/>
                  <a:pt x="117708" y="4716730"/>
                  <a:pt x="253200" y="4717463"/>
                </a:cubicBezTo>
                <a:close/>
                <a:moveTo>
                  <a:pt x="2545440" y="0"/>
                </a:moveTo>
                <a:cubicBezTo>
                  <a:pt x="2553730" y="637"/>
                  <a:pt x="2561381" y="1914"/>
                  <a:pt x="2569670" y="2551"/>
                </a:cubicBezTo>
                <a:lnTo>
                  <a:pt x="2594538" y="2550"/>
                </a:lnTo>
                <a:cubicBezTo>
                  <a:pt x="2602189" y="2550"/>
                  <a:pt x="2608247" y="6376"/>
                  <a:pt x="2615579" y="7014"/>
                </a:cubicBezTo>
                <a:cubicBezTo>
                  <a:pt x="5814520" y="227950"/>
                  <a:pt x="7845020" y="2307548"/>
                  <a:pt x="7824934" y="5956965"/>
                </a:cubicBezTo>
                <a:lnTo>
                  <a:pt x="7823932" y="6143011"/>
                </a:lnTo>
                <a:lnTo>
                  <a:pt x="4477421" y="6143011"/>
                </a:lnTo>
                <a:lnTo>
                  <a:pt x="4479024" y="5847615"/>
                </a:lnTo>
                <a:cubicBezTo>
                  <a:pt x="4487950" y="4197454"/>
                  <a:pt x="3843636" y="3185551"/>
                  <a:pt x="2546716" y="2983743"/>
                </a:cubicBezTo>
                <a:lnTo>
                  <a:pt x="2536833" y="2983742"/>
                </a:lnTo>
                <a:cubicBezTo>
                  <a:pt x="2401977" y="2982787"/>
                  <a:pt x="2291987" y="2871841"/>
                  <a:pt x="2292624" y="2736666"/>
                </a:cubicBezTo>
                <a:lnTo>
                  <a:pt x="2306014" y="246441"/>
                </a:lnTo>
                <a:cubicBezTo>
                  <a:pt x="2306971" y="114135"/>
                  <a:pt x="2414091" y="7333"/>
                  <a:pt x="2545441" y="382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 algn="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AU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5E46BDE-80F2-BE7E-7D4C-C01741B10004}"/>
              </a:ext>
            </a:extLst>
          </p:cNvPr>
          <p:cNvGrpSpPr/>
          <p:nvPr userDrawn="1"/>
        </p:nvGrpSpPr>
        <p:grpSpPr>
          <a:xfrm>
            <a:off x="724393" y="663496"/>
            <a:ext cx="1354263" cy="382171"/>
            <a:chOff x="3370030" y="2260711"/>
            <a:chExt cx="2531900" cy="714495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9E9314C0-DF2E-D818-8E1E-131954B6E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646D03E2-B059-4A90-ADD9-48B01C6EF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C68766A7-02F0-5933-5AAC-EFCAE982C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2336BE43-6D27-0208-7905-51AA16731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9570B69F-9018-2409-D7EA-04FC5B831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46AC5D84-4A41-C8A0-2FCA-0DEA7287E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5BF78EF-A852-940F-4A24-5B3A5CE9F0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B985B50-1DC2-2EB5-9413-FF06DC1CC11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ACB8EC3-2E33-C785-A646-3488C778EA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01DE2DC-8269-7F3C-5B3C-B464E3947F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446C266-A348-E024-487A-865BA2428047}"/>
              </a:ext>
            </a:extLst>
          </p:cNvPr>
          <p:cNvCxnSpPr>
            <a:cxnSpLocks/>
          </p:cNvCxnSpPr>
          <p:nvPr userDrawn="1"/>
        </p:nvCxnSpPr>
        <p:spPr>
          <a:xfrm>
            <a:off x="707141" y="3761326"/>
            <a:ext cx="585807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421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F2A037-D736-2706-417E-BD4F9980A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42C7907-8F05-370A-6A8D-F0BD697617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2312" y="1354573"/>
            <a:ext cx="10747376" cy="424732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24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831A777-FE0D-F939-934A-7370D23530CE}"/>
              </a:ext>
            </a:extLst>
          </p:cNvPr>
          <p:cNvCxnSpPr>
            <a:cxnSpLocks/>
          </p:cNvCxnSpPr>
          <p:nvPr userDrawn="1"/>
        </p:nvCxnSpPr>
        <p:spPr>
          <a:xfrm>
            <a:off x="810657" y="1212999"/>
            <a:ext cx="500558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10FF9421-9B4D-F655-4F95-3635EEA5AEB9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CBB0C4A-EE4B-1173-5755-9F479B2B616B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35206479-2191-D493-AAC1-19D3546FF2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6A010297-7AA0-37B7-2C0E-D4C14C6A6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ED8366C0-E46C-CA95-1C51-E62B8B978A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2319FE6B-3E54-EE73-A1F2-8267DC181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1A5EA95B-B54B-43F9-BAD6-AE2D5044F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4BBEDA70-400D-ADD6-6A90-33A06B401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C00BECCE-6399-9316-F5CD-7DB3B3D660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BB582F84-50FC-5EF6-F909-993F353B21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5CB80992-1082-8404-CB4E-515D869F36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2CFC4179-08BD-10DD-6C6D-6B8C5D0195D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5107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6EFEF920-5EAC-1FED-5C60-E4DAE816E7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2006" t="15398" r="34811" b="38724"/>
          <a:stretch/>
        </p:blipFill>
        <p:spPr>
          <a:xfrm>
            <a:off x="7372350" y="0"/>
            <a:ext cx="4819650" cy="685799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FF2A037-D736-2706-417E-BD4F9980A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831A777-FE0D-F939-934A-7370D23530CE}"/>
              </a:ext>
            </a:extLst>
          </p:cNvPr>
          <p:cNvCxnSpPr>
            <a:cxnSpLocks/>
          </p:cNvCxnSpPr>
          <p:nvPr userDrawn="1"/>
        </p:nvCxnSpPr>
        <p:spPr>
          <a:xfrm>
            <a:off x="810657" y="1212999"/>
            <a:ext cx="500558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3F4601BA-39F7-1099-1CDA-C405D8F6A07F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04FFAE2-0CF7-AD43-D846-E65411C4EB52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3BF64A7F-0319-6F81-B63D-6E81C31E61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7A1902C3-817A-B22B-8C1C-5D5BFC81CF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86697141-1F58-81DF-B452-CD9E0430B7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2DC1CB5A-C6DE-1424-B025-2EA3EACB6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FD6327C5-896E-87E6-664F-2ACFC576E1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0469C4A8-2281-9E54-4FD1-C1C49EAAFD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54F300AF-5081-1FC3-58ED-7B915900D6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E8638B57-0EAC-BF7A-137F-155ECD9F9E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21A264EA-5DD4-172A-4602-022B626080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783D6523-BABC-1E9A-4AD3-8145545EEE9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72333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F774454-36B0-6476-F69D-43E57B428B3E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6D8B5C4-EBC2-73F2-D592-D8C3055145FF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6821A168-8B33-646D-1956-358CA8A41B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CF00A5E-B4F6-726C-C696-3EC219503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2BBB6BB2-7A25-8A01-4CD6-D8632451E9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60848758-53F4-2058-49E9-EA98B7173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F1085C99-FEBC-0C6C-E05F-FCE8D4EAC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C47EAA3C-6FE6-058E-BEEC-2DAAA2DF9C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51852DA6-67F2-6DAC-2CF6-BB19A6D70F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353B7F03-8CFC-C5EA-0FC3-457DDEC98E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E2D8CF61-007B-0844-AA7B-69CB66B84D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AC3A179B-5E2B-D243-42E7-9CA43C92244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3304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26F2CA76-3B85-4CEB-FF4E-DCFC0E881B1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393090" y="2731582"/>
            <a:ext cx="3404234" cy="341632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0">
                <a:solidFill>
                  <a:srgbClr val="0099C8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4D926D6A-6440-0F59-238D-7B644A21568B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393090" y="3017654"/>
            <a:ext cx="3404234" cy="461665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2">
                    <a:lumMod val="50000"/>
                  </a:schemeClr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20145CF6-9D5F-B9E0-6E2B-455A878A1EA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82294" y="1525379"/>
            <a:ext cx="1071945" cy="107194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0" tIns="0" rIns="0" bIns="0" anchor="ctr"/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4F421451-F46D-B776-7599-CAA7C9E3B5AB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8065454" y="2731581"/>
            <a:ext cx="3404234" cy="341632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0">
                <a:solidFill>
                  <a:srgbClr val="0099C8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1EA94BAF-861E-49C2-330D-61031A178C9B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8065454" y="3017654"/>
            <a:ext cx="3404234" cy="461665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2">
                    <a:lumMod val="50000"/>
                  </a:schemeClr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34" name="Picture Placeholder 30">
            <a:extLst>
              <a:ext uri="{FF2B5EF4-FFF2-40B4-BE49-F238E27FC236}">
                <a16:creationId xmlns:a16="http://schemas.microsoft.com/office/drawing/2014/main" id="{FE313F80-778E-FE89-B8AC-C3467E209BA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61821" y="1525379"/>
            <a:ext cx="1071945" cy="107194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0" tIns="0" rIns="0" bIns="0" anchor="ctr"/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387CDA8A-BED0-7CFA-D6A4-AA5EFCEE7A80}"/>
              </a:ext>
            </a:extLst>
          </p:cNvPr>
          <p:cNvSpPr>
            <a:spLocks noGrp="1"/>
          </p:cNvSpPr>
          <p:nvPr>
            <p:ph type="body" idx="34"/>
          </p:nvPr>
        </p:nvSpPr>
        <p:spPr>
          <a:xfrm>
            <a:off x="720726" y="2734710"/>
            <a:ext cx="3404234" cy="341632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0">
                <a:solidFill>
                  <a:srgbClr val="0099C8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1A1B3C9D-2A5B-560C-7E07-DE3832EB737E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720726" y="3020783"/>
            <a:ext cx="3404234" cy="461665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2">
                    <a:lumMod val="50000"/>
                  </a:schemeClr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52" name="Picture Placeholder 30">
            <a:extLst>
              <a:ext uri="{FF2B5EF4-FFF2-40B4-BE49-F238E27FC236}">
                <a16:creationId xmlns:a16="http://schemas.microsoft.com/office/drawing/2014/main" id="{BD0DAB7B-332A-998B-5E82-1575E8E29A2A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802767" y="1528508"/>
            <a:ext cx="1071945" cy="107194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0" tIns="0" rIns="0" bIns="0" anchor="ctr"/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8746F73E-D73F-3CCA-8C98-9E8DF75C18BE}"/>
              </a:ext>
            </a:extLst>
          </p:cNvPr>
          <p:cNvSpPr>
            <a:spLocks noGrp="1"/>
          </p:cNvSpPr>
          <p:nvPr>
            <p:ph type="body" idx="37"/>
          </p:nvPr>
        </p:nvSpPr>
        <p:spPr>
          <a:xfrm>
            <a:off x="4393090" y="5153350"/>
            <a:ext cx="3404234" cy="341632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0">
                <a:solidFill>
                  <a:srgbClr val="0099C8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06153D28-2A33-E96C-7C03-D85202392608}"/>
              </a:ext>
            </a:extLst>
          </p:cNvPr>
          <p:cNvSpPr>
            <a:spLocks noGrp="1"/>
          </p:cNvSpPr>
          <p:nvPr>
            <p:ph type="body" idx="38" hasCustomPrompt="1"/>
          </p:nvPr>
        </p:nvSpPr>
        <p:spPr>
          <a:xfrm>
            <a:off x="4393090" y="5439422"/>
            <a:ext cx="3404234" cy="461665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2">
                    <a:lumMod val="50000"/>
                  </a:schemeClr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71" name="Picture Placeholder 30">
            <a:extLst>
              <a:ext uri="{FF2B5EF4-FFF2-40B4-BE49-F238E27FC236}">
                <a16:creationId xmlns:a16="http://schemas.microsoft.com/office/drawing/2014/main" id="{C6440EFE-5991-9A7D-075D-3B134F70C0DF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482294" y="3947147"/>
            <a:ext cx="1071945" cy="107194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0" tIns="0" rIns="0" bIns="0" anchor="ctr"/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625722C9-9ED8-C941-7CE0-2BF79BDEC83D}"/>
              </a:ext>
            </a:extLst>
          </p:cNvPr>
          <p:cNvSpPr>
            <a:spLocks noGrp="1"/>
          </p:cNvSpPr>
          <p:nvPr>
            <p:ph type="body" idx="40"/>
          </p:nvPr>
        </p:nvSpPr>
        <p:spPr>
          <a:xfrm>
            <a:off x="8065454" y="5153349"/>
            <a:ext cx="3404234" cy="341632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0">
                <a:solidFill>
                  <a:srgbClr val="0099C8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46103A23-1855-2179-E93D-6AEB7F2A2B52}"/>
              </a:ext>
            </a:extLst>
          </p:cNvPr>
          <p:cNvSpPr>
            <a:spLocks noGrp="1"/>
          </p:cNvSpPr>
          <p:nvPr>
            <p:ph type="body" idx="41" hasCustomPrompt="1"/>
          </p:nvPr>
        </p:nvSpPr>
        <p:spPr>
          <a:xfrm>
            <a:off x="8065454" y="5439422"/>
            <a:ext cx="3404234" cy="461665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2">
                    <a:lumMod val="50000"/>
                  </a:schemeClr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74" name="Picture Placeholder 30">
            <a:extLst>
              <a:ext uri="{FF2B5EF4-FFF2-40B4-BE49-F238E27FC236}">
                <a16:creationId xmlns:a16="http://schemas.microsoft.com/office/drawing/2014/main" id="{35AF1FE7-AE28-7D5A-F46E-428C99C16E98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8161821" y="3947147"/>
            <a:ext cx="1071945" cy="107194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0" tIns="0" rIns="0" bIns="0" anchor="ctr"/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93167805-8C68-DDDD-D0D8-49274D7DEAA1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720726" y="5156478"/>
            <a:ext cx="3404234" cy="341632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800" b="0">
                <a:solidFill>
                  <a:srgbClr val="0099C8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3D2E3107-262B-9754-839A-C6F96FAD4DDC}"/>
              </a:ext>
            </a:extLst>
          </p:cNvPr>
          <p:cNvSpPr>
            <a:spLocks noGrp="1"/>
          </p:cNvSpPr>
          <p:nvPr>
            <p:ph type="body" idx="44" hasCustomPrompt="1"/>
          </p:nvPr>
        </p:nvSpPr>
        <p:spPr>
          <a:xfrm>
            <a:off x="720726" y="5442551"/>
            <a:ext cx="3404234" cy="461665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2">
                    <a:lumMod val="50000"/>
                  </a:schemeClr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ext styles</a:t>
            </a:r>
          </a:p>
        </p:txBody>
      </p:sp>
      <p:sp>
        <p:nvSpPr>
          <p:cNvPr id="77" name="Picture Placeholder 30">
            <a:extLst>
              <a:ext uri="{FF2B5EF4-FFF2-40B4-BE49-F238E27FC236}">
                <a16:creationId xmlns:a16="http://schemas.microsoft.com/office/drawing/2014/main" id="{1B5B3799-ED2E-10D0-2B9C-2B21BB792C3F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802767" y="3950276"/>
            <a:ext cx="1071945" cy="107194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0" tIns="0" rIns="0" bIns="0" anchor="ctr"/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78" name="Title 1">
            <a:extLst>
              <a:ext uri="{FF2B5EF4-FFF2-40B4-BE49-F238E27FC236}">
                <a16:creationId xmlns:a16="http://schemas.microsoft.com/office/drawing/2014/main" id="{A53D20E6-3146-3A60-5234-414BF4AB4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2" y="608460"/>
            <a:ext cx="10747376" cy="53553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F94317E-8510-C4DC-CCC7-B364C925046C}"/>
              </a:ext>
            </a:extLst>
          </p:cNvPr>
          <p:cNvCxnSpPr>
            <a:cxnSpLocks/>
          </p:cNvCxnSpPr>
          <p:nvPr userDrawn="1"/>
        </p:nvCxnSpPr>
        <p:spPr>
          <a:xfrm>
            <a:off x="810657" y="1212999"/>
            <a:ext cx="500558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B9B6BBDF-A02C-3698-434D-2F5E39C4B17A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8FF3442-16D5-F87B-D452-29D8FA9A7E7F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1DB219BD-F6B5-E478-C1DD-E253F0CB6F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44D407D8-9171-3932-DB1F-021EC765C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81A646C3-72B8-CC04-C4DA-863110307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CB8FA326-E04A-6FBE-E37B-F21564EB8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11F2A840-C01C-E9B8-8C6F-568BDDC7B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57B0C795-7AC3-CFA9-C6B2-47F238858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6C911FA4-20B2-11CF-6F8D-9040034F54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1BAF6407-9C5A-F96E-D582-5645B0B52B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51CA30A9-8025-5878-6C5F-BA4F3C5291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795D7191-0E0E-52AC-FF7D-E4529CA6A9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00868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am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F2A037-D736-2706-417E-BD4F9980AD1B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722312" y="608460"/>
            <a:ext cx="10747376" cy="53553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73469C2-24BF-8BF1-5235-64A5544787F0}"/>
              </a:ext>
            </a:extLst>
          </p:cNvPr>
          <p:cNvSpPr>
            <a:spLocks noGrp="1" noChangeAspect="1"/>
          </p:cNvSpPr>
          <p:nvPr userDrawn="1">
            <p:ph type="pic" sz="quarter" idx="10"/>
          </p:nvPr>
        </p:nvSpPr>
        <p:spPr>
          <a:xfrm>
            <a:off x="858978" y="1823354"/>
            <a:ext cx="1816718" cy="1818612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A5555079-8577-CDCF-1628-2848F6C086C7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3744752" y="1823354"/>
            <a:ext cx="1816718" cy="1818612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19" name="Picture Placeholder 16">
            <a:extLst>
              <a:ext uri="{FF2B5EF4-FFF2-40B4-BE49-F238E27FC236}">
                <a16:creationId xmlns:a16="http://schemas.microsoft.com/office/drawing/2014/main" id="{0A43A857-C71E-7CB3-033B-434DD4023498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6630526" y="1823354"/>
            <a:ext cx="1816718" cy="1818612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5" name="Picture Placeholder 16">
            <a:extLst>
              <a:ext uri="{FF2B5EF4-FFF2-40B4-BE49-F238E27FC236}">
                <a16:creationId xmlns:a16="http://schemas.microsoft.com/office/drawing/2014/main" id="{2F95B6BE-99C1-B0C3-6E8F-CD1EB06FBFCA}"/>
              </a:ext>
            </a:extLst>
          </p:cNvPr>
          <p:cNvSpPr>
            <a:spLocks noGrp="1" noChangeAspect="1"/>
          </p:cNvSpPr>
          <p:nvPr userDrawn="1">
            <p:ph type="pic" sz="quarter" idx="18"/>
          </p:nvPr>
        </p:nvSpPr>
        <p:spPr>
          <a:xfrm>
            <a:off x="9516300" y="1823354"/>
            <a:ext cx="1816718" cy="1818612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F1A58B61-18F3-125E-F7A4-129A69E4426D}"/>
              </a:ext>
            </a:extLst>
          </p:cNvPr>
          <p:cNvSpPr>
            <a:spLocks noGrp="1"/>
          </p:cNvSpPr>
          <p:nvPr userDrawn="1">
            <p:ph type="body" idx="22"/>
          </p:nvPr>
        </p:nvSpPr>
        <p:spPr>
          <a:xfrm>
            <a:off x="722312" y="3847808"/>
            <a:ext cx="2090054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200" b="1">
                <a:solidFill>
                  <a:srgbClr val="0099C8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F64BC3FE-8779-4A6B-4E31-D96AC72298F7}"/>
              </a:ext>
            </a:extLst>
          </p:cNvPr>
          <p:cNvSpPr>
            <a:spLocks noGrp="1"/>
          </p:cNvSpPr>
          <p:nvPr userDrawn="1">
            <p:ph type="body" idx="23"/>
          </p:nvPr>
        </p:nvSpPr>
        <p:spPr>
          <a:xfrm>
            <a:off x="722312" y="4068041"/>
            <a:ext cx="2090054" cy="460800"/>
          </a:xfrm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>
                <a:solidFill>
                  <a:schemeClr val="tx2">
                    <a:lumMod val="50000"/>
                  </a:schemeClr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BC305F85-6E43-0004-5B19-8A3E6DDCF519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3608086" y="3847808"/>
            <a:ext cx="2090054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200" b="1">
                <a:solidFill>
                  <a:srgbClr val="0099C8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1888372F-8DEA-C490-5D15-69F53D106560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3608086" y="4068042"/>
            <a:ext cx="2090054" cy="460800"/>
          </a:xfrm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>
                <a:solidFill>
                  <a:schemeClr val="tx2">
                    <a:lumMod val="50000"/>
                  </a:schemeClr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80D3D79D-CEA3-32D3-5BBB-23362BDD4D0C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6493860" y="3847808"/>
            <a:ext cx="2090054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200" b="1">
                <a:solidFill>
                  <a:srgbClr val="0099C8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31AF77D6-5961-77C9-C265-B4F30A00996C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6493860" y="4068042"/>
            <a:ext cx="2090054" cy="460800"/>
          </a:xfrm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>
                <a:solidFill>
                  <a:schemeClr val="tx2">
                    <a:lumMod val="50000"/>
                  </a:schemeClr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E4138D2B-3DBB-E047-9E6E-40BBEC6E62B8}"/>
              </a:ext>
            </a:extLst>
          </p:cNvPr>
          <p:cNvSpPr>
            <a:spLocks noGrp="1"/>
          </p:cNvSpPr>
          <p:nvPr>
            <p:ph type="body" idx="38"/>
          </p:nvPr>
        </p:nvSpPr>
        <p:spPr>
          <a:xfrm>
            <a:off x="9379634" y="3845852"/>
            <a:ext cx="2090054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200" b="1">
                <a:solidFill>
                  <a:srgbClr val="0099C8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998DBD4F-E651-22EA-7F86-A4A29B047CF4}"/>
              </a:ext>
            </a:extLst>
          </p:cNvPr>
          <p:cNvSpPr>
            <a:spLocks noGrp="1"/>
          </p:cNvSpPr>
          <p:nvPr>
            <p:ph type="body" idx="39"/>
          </p:nvPr>
        </p:nvSpPr>
        <p:spPr>
          <a:xfrm>
            <a:off x="9379634" y="4066087"/>
            <a:ext cx="2090054" cy="460800"/>
          </a:xfrm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>
                <a:solidFill>
                  <a:schemeClr val="tx2">
                    <a:lumMod val="50000"/>
                  </a:schemeClr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C0948C6-A6BE-BF83-F9DF-46278DA30894}"/>
              </a:ext>
            </a:extLst>
          </p:cNvPr>
          <p:cNvCxnSpPr>
            <a:cxnSpLocks/>
          </p:cNvCxnSpPr>
          <p:nvPr userDrawn="1"/>
        </p:nvCxnSpPr>
        <p:spPr>
          <a:xfrm>
            <a:off x="810657" y="1212999"/>
            <a:ext cx="500558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C7AF60A0-67C9-59B8-2935-420B0E075D85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955AD97-4C30-38F2-1163-A1706F5190CF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5ED687DB-93D0-CBC2-68AB-84DC9457D5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79A4ADB-22CE-205A-94B0-2C8BF7E0D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F93404F5-DACF-C8FD-7752-3EF127C24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37403142-447D-4209-C7B2-962030EF6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0D336E00-970D-6CFD-105C-A4CCC5039B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537CE820-449C-1065-8142-16333D9F8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A7451293-722E-67D7-C6DD-509C7AE8B9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963FD73D-599F-B58F-581B-ACD0E2024D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D5725592-9EBA-B9D5-83F1-28FD329224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AB8108BC-0E80-3B30-A5E7-36425962050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09162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am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F2A037-D736-2706-417E-BD4F9980AD1B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722312" y="608460"/>
            <a:ext cx="10747376" cy="53553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58BF5AB3-B54C-3759-584A-63D0C6C6049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2630517" y="1535653"/>
            <a:ext cx="841740" cy="84261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2A69CF2A-9E6D-14A7-CD03-495359AF73C1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5675130" y="1535653"/>
            <a:ext cx="841740" cy="84261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95534B33-5755-6A24-F922-39EB9F5F69EA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8719745" y="1535653"/>
            <a:ext cx="841740" cy="84261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1" name="Picture Placeholder 16">
            <a:extLst>
              <a:ext uri="{FF2B5EF4-FFF2-40B4-BE49-F238E27FC236}">
                <a16:creationId xmlns:a16="http://schemas.microsoft.com/office/drawing/2014/main" id="{DB5A1F1F-B11B-6D20-46CA-071F3CA57F79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2630517" y="3708920"/>
            <a:ext cx="841740" cy="84261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2CA7B29-D6E9-8C3C-499F-C0C1ABB820D9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5675130" y="3708920"/>
            <a:ext cx="841740" cy="84261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3" name="Picture Placeholder 16">
            <a:extLst>
              <a:ext uri="{FF2B5EF4-FFF2-40B4-BE49-F238E27FC236}">
                <a16:creationId xmlns:a16="http://schemas.microsoft.com/office/drawing/2014/main" id="{EB04045A-DC13-9BB9-3A63-AACC5AF9BA81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719745" y="3708920"/>
            <a:ext cx="841740" cy="84261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F9C52C02-8CF3-6F4E-F0BF-530640786E7F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1764146" y="2469240"/>
            <a:ext cx="2609361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200" b="1">
                <a:solidFill>
                  <a:schemeClr val="accent2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B7167B2-5E32-B827-E72C-8B00E9D96A5C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1764146" y="2689472"/>
            <a:ext cx="2609361" cy="842617"/>
          </a:xfrm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>
                <a:solidFill>
                  <a:schemeClr val="tx2">
                    <a:lumMod val="50000"/>
                  </a:schemeClr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E20F27A-5006-C842-A72A-D7B2657A3502}"/>
              </a:ext>
            </a:extLst>
          </p:cNvPr>
          <p:cNvSpPr>
            <a:spLocks noGrp="1"/>
          </p:cNvSpPr>
          <p:nvPr>
            <p:ph type="body" idx="34"/>
          </p:nvPr>
        </p:nvSpPr>
        <p:spPr>
          <a:xfrm>
            <a:off x="1764146" y="4654240"/>
            <a:ext cx="2609361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200" b="1">
                <a:solidFill>
                  <a:schemeClr val="accent2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D7D4A1C-D691-508D-19ED-5D69FE71ABAE}"/>
              </a:ext>
            </a:extLst>
          </p:cNvPr>
          <p:cNvSpPr>
            <a:spLocks noGrp="1"/>
          </p:cNvSpPr>
          <p:nvPr>
            <p:ph type="body" idx="35"/>
          </p:nvPr>
        </p:nvSpPr>
        <p:spPr>
          <a:xfrm>
            <a:off x="1764146" y="4874475"/>
            <a:ext cx="2609361" cy="953670"/>
          </a:xfrm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>
                <a:solidFill>
                  <a:schemeClr val="tx2">
                    <a:lumMod val="50000"/>
                  </a:schemeClr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F58BB3C0-79BD-98C1-221D-E5220BABF67B}"/>
              </a:ext>
            </a:extLst>
          </p:cNvPr>
          <p:cNvSpPr>
            <a:spLocks noGrp="1"/>
          </p:cNvSpPr>
          <p:nvPr>
            <p:ph type="body" idx="36"/>
          </p:nvPr>
        </p:nvSpPr>
        <p:spPr>
          <a:xfrm>
            <a:off x="4802910" y="2469240"/>
            <a:ext cx="2609361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200" b="1">
                <a:solidFill>
                  <a:schemeClr val="accent2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46851182-ED38-FC05-E70E-416BB819D2E6}"/>
              </a:ext>
            </a:extLst>
          </p:cNvPr>
          <p:cNvSpPr>
            <a:spLocks noGrp="1"/>
          </p:cNvSpPr>
          <p:nvPr>
            <p:ph type="body" idx="37"/>
          </p:nvPr>
        </p:nvSpPr>
        <p:spPr>
          <a:xfrm>
            <a:off x="4802910" y="2689472"/>
            <a:ext cx="2609361" cy="842617"/>
          </a:xfrm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>
                <a:solidFill>
                  <a:schemeClr val="tx2">
                    <a:lumMod val="50000"/>
                  </a:schemeClr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DF4EBFDA-A3A5-1DBF-EC2D-66087B68945A}"/>
              </a:ext>
            </a:extLst>
          </p:cNvPr>
          <p:cNvSpPr>
            <a:spLocks noGrp="1"/>
          </p:cNvSpPr>
          <p:nvPr>
            <p:ph type="body" idx="38"/>
          </p:nvPr>
        </p:nvSpPr>
        <p:spPr>
          <a:xfrm>
            <a:off x="4802910" y="4654240"/>
            <a:ext cx="2609361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200" b="1">
                <a:solidFill>
                  <a:schemeClr val="accent2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9F05128-E64D-E2E6-8B88-B502CF44E170}"/>
              </a:ext>
            </a:extLst>
          </p:cNvPr>
          <p:cNvSpPr>
            <a:spLocks noGrp="1"/>
          </p:cNvSpPr>
          <p:nvPr>
            <p:ph type="body" idx="39"/>
          </p:nvPr>
        </p:nvSpPr>
        <p:spPr>
          <a:xfrm>
            <a:off x="4802910" y="4874475"/>
            <a:ext cx="2609361" cy="953670"/>
          </a:xfrm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>
                <a:solidFill>
                  <a:schemeClr val="tx2">
                    <a:lumMod val="50000"/>
                  </a:schemeClr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BF261E45-79C2-5C18-C8A5-FD8F97C25C87}"/>
              </a:ext>
            </a:extLst>
          </p:cNvPr>
          <p:cNvSpPr>
            <a:spLocks noGrp="1"/>
          </p:cNvSpPr>
          <p:nvPr>
            <p:ph type="body" idx="40"/>
          </p:nvPr>
        </p:nvSpPr>
        <p:spPr>
          <a:xfrm>
            <a:off x="7860146" y="2469240"/>
            <a:ext cx="2609361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200" b="1">
                <a:solidFill>
                  <a:schemeClr val="accent2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2C081E74-311A-E8E1-F9B3-58B868279937}"/>
              </a:ext>
            </a:extLst>
          </p:cNvPr>
          <p:cNvSpPr>
            <a:spLocks noGrp="1"/>
          </p:cNvSpPr>
          <p:nvPr>
            <p:ph type="body" idx="41"/>
          </p:nvPr>
        </p:nvSpPr>
        <p:spPr>
          <a:xfrm>
            <a:off x="7860146" y="2689472"/>
            <a:ext cx="2609361" cy="842617"/>
          </a:xfrm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>
                <a:solidFill>
                  <a:schemeClr val="tx2">
                    <a:lumMod val="50000"/>
                  </a:schemeClr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19EB964C-079F-EC61-CDA9-352B1EA7FF90}"/>
              </a:ext>
            </a:extLst>
          </p:cNvPr>
          <p:cNvSpPr>
            <a:spLocks noGrp="1"/>
          </p:cNvSpPr>
          <p:nvPr>
            <p:ph type="body" idx="42"/>
          </p:nvPr>
        </p:nvSpPr>
        <p:spPr>
          <a:xfrm>
            <a:off x="7860146" y="4654240"/>
            <a:ext cx="2609361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200" b="1">
                <a:solidFill>
                  <a:schemeClr val="accent2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B25C2604-5A45-F931-AAF6-1F51665EF074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7860146" y="4874475"/>
            <a:ext cx="2609361" cy="953670"/>
          </a:xfrm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>
                <a:solidFill>
                  <a:schemeClr val="tx2">
                    <a:lumMod val="50000"/>
                  </a:schemeClr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E0E9A9-737A-29A0-9A52-9E841CD22B29}"/>
              </a:ext>
            </a:extLst>
          </p:cNvPr>
          <p:cNvCxnSpPr>
            <a:cxnSpLocks/>
          </p:cNvCxnSpPr>
          <p:nvPr userDrawn="1"/>
        </p:nvCxnSpPr>
        <p:spPr>
          <a:xfrm>
            <a:off x="810657" y="1212999"/>
            <a:ext cx="500558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178F05C2-8F4B-B397-E7AA-C636C2443DEF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DBDFF8E-75C8-CFB1-E665-23948A9D0AC3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9D72FECC-3E71-58D8-6492-C51E4E2B8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5C4221B3-C8F1-1B47-23FD-E26F6FB779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FCB24372-CD68-8AC0-CCFF-FF5337006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7D729B64-8DBB-72B5-3563-ADA4801FF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63435302-9C3C-5C82-307D-9692B07C9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E660AC38-B37A-36A6-216F-B29D2FC92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3603AEDD-3952-4DF3-9075-945859BFED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94F513CB-C9C6-8DDF-97D6-F757270953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D6A72454-BD3E-397F-218B-96175A6C51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182EC4ED-BFFF-9997-5D8A-E09B2F38FF4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55214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FBF8A8E0-6908-9B2A-AB92-4B2410FA0C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739"/>
          <a:stretch/>
        </p:blipFill>
        <p:spPr>
          <a:xfrm>
            <a:off x="2514601" y="194422"/>
            <a:ext cx="9677400" cy="666357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FF2A037-D736-2706-417E-BD4F9980AD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2" y="608459"/>
            <a:ext cx="2813368" cy="535531"/>
          </a:xfrm>
        </p:spPr>
        <p:txBody>
          <a:bodyPr/>
          <a:lstStyle>
            <a:lvl1pPr>
              <a:defRPr>
                <a:solidFill>
                  <a:srgbClr val="1F2D6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8659739-F39B-82EF-4652-9936AC2DBA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946843" y="1059180"/>
            <a:ext cx="7338377" cy="4594897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B7DA21B-A92B-08C2-FB1B-0568125693B6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36A09BD-E834-CD69-F545-04EDDCB30F05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0F49A572-AE6C-7B57-A80F-F98A3FBD4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C50EE939-79AB-DED3-B50A-16B10C6DDA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5AB800AC-DA8D-C5FA-42C3-60551D500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D65D5E82-3014-C88A-C0C0-85AA93D8D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741C66B8-6605-24CD-4F68-C91E3226A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FB85C7C-D07E-F3B2-76F8-31C41C70A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764D5317-99E5-371F-3E81-004CDE4D38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3477CF59-24D1-9A98-A7BE-D2EE13EE80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89CD08AB-E539-738D-3820-5717E7C0E5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78C0A41A-685E-BD29-CE58-3621A08B417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4278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1A3C9E-CD93-8C01-67B7-775602E4D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CC89FF-16A1-229D-F206-FE090A1BA2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CE595F7-E8BC-76AE-805E-066EFF70540F}"/>
              </a:ext>
            </a:extLst>
          </p:cNvPr>
          <p:cNvCxnSpPr>
            <a:cxnSpLocks/>
          </p:cNvCxnSpPr>
          <p:nvPr userDrawn="1"/>
        </p:nvCxnSpPr>
        <p:spPr>
          <a:xfrm>
            <a:off x="810657" y="1212999"/>
            <a:ext cx="500558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983124B4-055B-80E1-20C6-C796BE990D0D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7FEB458-FB4B-2B28-9616-00C12F8F3183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6E98C393-A603-1AEE-A320-FE5384C9A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5C05AED0-15BC-C10C-D0ED-6749310566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7CA59DCE-EE37-8E0A-2B73-F25C0A073C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6345C40F-3091-5D59-41B4-0166283C86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3A6078C9-3722-A514-F363-588DA6A7F8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A405F4EC-8794-0BC6-7390-5E3B16ED2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45CB07A4-1F21-9B22-9510-1CC8BEE172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D138AAD3-1F9C-53D2-AFD8-75AAFAA89F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7DB837D5-59E8-6122-CF8F-E2BDFBBD2BF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5A169919-AE71-98CC-9171-169883283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3214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E567E2-647D-B573-D203-5B63870A6F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2312" y="1475105"/>
            <a:ext cx="10747376" cy="424732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2400" b="0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2C26292-9200-4253-C3BE-1D009DDA2D6B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722312" y="2011679"/>
            <a:ext cx="10747376" cy="41240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898687B-6440-1E7D-C321-6E8A39D01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2" y="608459"/>
            <a:ext cx="10747376" cy="5355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1263EC3-2894-7309-433A-98CD97206070}"/>
              </a:ext>
            </a:extLst>
          </p:cNvPr>
          <p:cNvCxnSpPr>
            <a:cxnSpLocks/>
          </p:cNvCxnSpPr>
          <p:nvPr userDrawn="1"/>
        </p:nvCxnSpPr>
        <p:spPr>
          <a:xfrm>
            <a:off x="810657" y="1212999"/>
            <a:ext cx="500558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67FE2D48-8005-D9E0-5A64-BDA482B3D876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0171DE-B27C-824F-CB04-157BCF0C9CE9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C8549850-6F66-7DF9-E9F7-AE33DEA41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1C5CAD4D-A830-6DC9-9E6F-3A48231B2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F504C9D5-20AB-035B-EFE8-0D2C23A9F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F63303CE-37F1-88C9-B892-39CA44245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B59856DD-AB8A-141A-ED2F-FAFDEF6CA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6E4D7FE1-7C1B-5711-BA7F-0771D19B2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B9F79A86-BA70-001A-6659-2072E96197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CAE3B245-4B2D-0539-98E0-060191AB55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522DA581-28C4-5879-FD3A-313541F5FF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315C3D52-CCEC-C7E0-C985-DC8C0FF64C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20575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88D9A8-286D-39D5-EEC1-E69D4CA56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2" y="608459"/>
            <a:ext cx="10747376" cy="5355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7D4822-F3FC-AC8E-E0A1-507BE64AA2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2312" y="147510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BC5476B-178E-7E35-CDD5-0D9F23E332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88088" y="147510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3ADA99F-8E87-C0FC-D1A7-1628DAF37CCC}"/>
              </a:ext>
            </a:extLst>
          </p:cNvPr>
          <p:cNvCxnSpPr>
            <a:cxnSpLocks/>
          </p:cNvCxnSpPr>
          <p:nvPr userDrawn="1"/>
        </p:nvCxnSpPr>
        <p:spPr>
          <a:xfrm>
            <a:off x="810657" y="1212999"/>
            <a:ext cx="500558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A6AA433C-C2ED-0B23-8D7D-FA2CF15F185F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45DFDE2-81D7-1520-D6A5-547EA4BB34DB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4A4FC55C-B0FD-F6CB-F205-B88C28EB35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E7B6E7B3-37AB-7FAC-1DD7-C0B5E71C2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51E8AED6-533F-CAEF-3990-34D8BD5CE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7FCA9A95-F941-3578-9EF1-F4BA7B41D4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66C2A83-0D00-1D72-AE0A-9A6F86CEA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AC5DEFA4-F0FB-476E-62AC-D5E7AC928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CF43C047-303C-3171-8A28-2AEF96A0D2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8D985325-EE28-742F-9C1F-2FB1A9EA00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FAB8148D-A007-E5A9-1FB9-B72776B157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A4D9A87C-4705-6C8D-3815-0D9FC43EEB5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48337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9D9F76-471C-40F9-F0B3-C51ACA672C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98804" y="2351552"/>
            <a:ext cx="5497196" cy="1311128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4400" b="0" spc="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0253580-FCEF-9239-7944-8C636B0F40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98804" y="4140835"/>
            <a:ext cx="5497196" cy="341632"/>
          </a:xfrm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0">
                <a:solidFill>
                  <a:schemeClr val="accent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5E46BDE-80F2-BE7E-7D4C-C01741B10004}"/>
              </a:ext>
            </a:extLst>
          </p:cNvPr>
          <p:cNvGrpSpPr/>
          <p:nvPr userDrawn="1"/>
        </p:nvGrpSpPr>
        <p:grpSpPr>
          <a:xfrm>
            <a:off x="724393" y="663496"/>
            <a:ext cx="1354263" cy="382171"/>
            <a:chOff x="3370030" y="2260711"/>
            <a:chExt cx="2531900" cy="714495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9E9314C0-DF2E-D818-8E1E-131954B6E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646D03E2-B059-4A90-ADD9-48B01C6EF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C68766A7-02F0-5933-5AAC-EFCAE982C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2336BE43-6D27-0208-7905-51AA16731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9570B69F-9018-2409-D7EA-04FC5B831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46AC5D84-4A41-C8A0-2FCA-0DEA7287E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5BF78EF-A852-940F-4A24-5B3A5CE9F0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B985B50-1DC2-2EB5-9413-FF06DC1CC11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ACB8EC3-2E33-C785-A646-3488C778EA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01DE2DC-8269-7F3C-5B3C-B464E3947F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446C266-A348-E024-487A-865BA2428047}"/>
              </a:ext>
            </a:extLst>
          </p:cNvPr>
          <p:cNvCxnSpPr>
            <a:cxnSpLocks/>
          </p:cNvCxnSpPr>
          <p:nvPr userDrawn="1"/>
        </p:nvCxnSpPr>
        <p:spPr>
          <a:xfrm>
            <a:off x="707141" y="3761326"/>
            <a:ext cx="585807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phic 16">
            <a:extLst>
              <a:ext uri="{FF2B5EF4-FFF2-40B4-BE49-F238E27FC236}">
                <a16:creationId xmlns:a16="http://schemas.microsoft.com/office/drawing/2014/main" id="{ED71F4A3-BA45-6AE2-51F7-200799DCD2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0089" r="23069" b="67684"/>
          <a:stretch/>
        </p:blipFill>
        <p:spPr>
          <a:xfrm>
            <a:off x="6313714" y="704850"/>
            <a:ext cx="6259285" cy="615315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C53E6D8E-E0A5-58CA-AE8B-E28D01BD9C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5351" t="20919" r="50989" b="67684"/>
          <a:stretch/>
        </p:blipFill>
        <p:spPr>
          <a:xfrm>
            <a:off x="3810393" y="4687891"/>
            <a:ext cx="4019550" cy="2170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239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E567E2-647D-B573-D203-5B63870A6F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2312" y="1475105"/>
            <a:ext cx="5157787" cy="424732"/>
          </a:xfrm>
        </p:spPr>
        <p:txBody>
          <a:bodyPr anchor="t" anchorCtr="0">
            <a:spAutoFit/>
          </a:bodyPr>
          <a:lstStyle>
            <a:lvl1pPr marL="0" indent="0">
              <a:buNone/>
              <a:defRPr sz="2400" b="0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4B76B-3D09-8506-C2B0-ABF455127E9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86500" y="1475105"/>
            <a:ext cx="5183188" cy="424732"/>
          </a:xfrm>
        </p:spPr>
        <p:txBody>
          <a:bodyPr anchor="t" anchorCtr="0">
            <a:spAutoFit/>
          </a:bodyPr>
          <a:lstStyle>
            <a:lvl1pPr marL="0" indent="0">
              <a:buNone/>
              <a:defRPr sz="2400" b="0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2C26292-9200-4253-C3BE-1D009DDA2D6B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722312" y="2011679"/>
            <a:ext cx="5181600" cy="38147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94D1BD63-072F-72FD-873E-DE5CAB1CD1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88088" y="2011679"/>
            <a:ext cx="5181600" cy="38147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898687B-6440-1E7D-C321-6E8A39D01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2" y="608459"/>
            <a:ext cx="10747376" cy="5355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091F086-15E8-CC3D-E227-BBC56474B480}"/>
              </a:ext>
            </a:extLst>
          </p:cNvPr>
          <p:cNvCxnSpPr>
            <a:cxnSpLocks/>
          </p:cNvCxnSpPr>
          <p:nvPr userDrawn="1"/>
        </p:nvCxnSpPr>
        <p:spPr>
          <a:xfrm>
            <a:off x="810657" y="1212999"/>
            <a:ext cx="500558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F1D2A2D-AD8E-A268-9663-4BFD38753372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C695145-815F-CB5F-4C6E-89221332B6C7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5D13539D-3A42-695E-6DAD-BB01B40128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3FAF2AE6-458C-EFF3-F18A-E7709A5DC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802AFC78-E8E1-48B5-C3D8-C2766ABCC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69776DDF-CA0F-B971-0C98-398B19E5C8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3DC07E73-A22D-86B9-4E6B-C6284AB87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416AFE79-67AC-07AD-EBA6-3C641B2DF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3EFD50A6-B991-ABE4-212E-AD5A52D184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A9523F7C-6A41-33A8-80ED-2F29FEF8C4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F592D331-118D-E2CB-A045-5E3EBD56C3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C0620016-2CF3-6812-4AAD-00D0662D1FF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50028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F2A037-D736-2706-417E-BD4F9980A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42C7907-8F05-370A-6A8D-F0BD697617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2312" y="1354573"/>
            <a:ext cx="10747376" cy="424732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2400" b="0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26ABA83-EB77-2D6F-5CA1-17FB57906FA3}"/>
              </a:ext>
            </a:extLst>
          </p:cNvPr>
          <p:cNvCxnSpPr>
            <a:cxnSpLocks/>
          </p:cNvCxnSpPr>
          <p:nvPr userDrawn="1"/>
        </p:nvCxnSpPr>
        <p:spPr>
          <a:xfrm>
            <a:off x="810657" y="1212999"/>
            <a:ext cx="500558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08234360-0E2B-3E07-9858-C92910AF6558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879B2F9-F860-99FD-B2A7-A2BE7756BE4C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BD4DE2BC-22EA-1286-1036-F0BE5C26BE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058A255B-39D7-2A10-B3BC-D66291323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8380F0B1-6878-453A-544C-84E12BCC9D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BB29A817-3D47-EC5B-3231-E519B0621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98FFFED8-0292-CFAC-8353-80830214A4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852CEDA8-13D4-1875-348C-7799C9311C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126ECE1A-3AA9-E89E-D39E-4A174ACD02F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78445C81-6CC4-58C5-F3D1-505B202378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D635D1DB-18A0-D772-F976-85D4BED1A20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E609D07D-6202-C86C-AB41-0446B849FD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5152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26ABA83-EB77-2D6F-5CA1-17FB57906FA3}"/>
              </a:ext>
            </a:extLst>
          </p:cNvPr>
          <p:cNvCxnSpPr>
            <a:cxnSpLocks/>
          </p:cNvCxnSpPr>
          <p:nvPr userDrawn="1"/>
        </p:nvCxnSpPr>
        <p:spPr>
          <a:xfrm>
            <a:off x="810657" y="1212999"/>
            <a:ext cx="500558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phic 16">
            <a:extLst>
              <a:ext uri="{FF2B5EF4-FFF2-40B4-BE49-F238E27FC236}">
                <a16:creationId xmlns:a16="http://schemas.microsoft.com/office/drawing/2014/main" id="{620B6B53-2414-6D61-4160-38AA725514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2006" t="15398" r="34811" b="38724"/>
          <a:stretch/>
        </p:blipFill>
        <p:spPr>
          <a:xfrm>
            <a:off x="7372350" y="0"/>
            <a:ext cx="4819650" cy="685799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FF2A037-D736-2706-417E-BD4F9980A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CF9293E-BA61-6D08-F6F1-6128E27D9E0A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5729156-409D-2DCF-B370-18EDF88AE3D7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1B63DF5D-1982-0792-0A98-A4D6F5F0E3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D9E60651-95E0-5C05-E5A8-0FD40A28C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07B9D0DF-B08D-CC88-B794-918A0AFF4F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915F4645-6D90-83ED-D935-362EBF102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C7D4B9C1-F8C9-FD53-A103-69CF27953B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5BAE7794-FE41-0CC2-741F-7BF9BE998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5DE99E8B-A5BC-860E-A5AF-A15B80963A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B99C4234-A8F7-A2E2-3AD9-E39ECBAE42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12C9F8D8-0960-B960-3C2E-7453B0E47EA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6F6D9C28-89B2-211E-D3D9-64C35F48F27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03833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94AC25A-2699-8384-4FD9-2D0580741AA1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B8E9281-1339-CB6F-55E3-3341A56F8F8D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F7AF5970-D0EA-601B-BB81-77CAE60D67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30083C8-7306-6E79-661E-EE81928F85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C41E1EC6-9E10-228A-CF42-4BF0729526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B3380F70-02A7-8F3D-D661-0BF4C70D4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EC1DEBC1-E2FE-8CE4-2A7D-8701A1B247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ADDC56AC-0FA7-3FEB-81D6-848EE53DA0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5DA89963-133A-210B-6C4D-FCC2161CDC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8B89C7FE-8262-1474-2235-82422AB1F0D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31AED448-6DF8-20BF-CB14-F2DF6302F5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300E1973-D7DB-6EA3-9D6F-AEBD7716B3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18205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am Slide">
    <p:bg>
      <p:bgPr>
        <a:solidFill>
          <a:srgbClr val="1F2D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F2A037-D736-2706-417E-BD4F9980AD1B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722312" y="608460"/>
            <a:ext cx="10747376" cy="5355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3B28C603-BAEC-AE90-4B5A-63DF19AB8BB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2630517" y="1535653"/>
            <a:ext cx="841740" cy="84261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3BD61386-6994-8324-D341-7509D5FD94DC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5675130" y="1535653"/>
            <a:ext cx="841740" cy="84261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6D0E38F3-BA1C-3F90-A2B9-966BD3F8E9F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8719745" y="1535653"/>
            <a:ext cx="841740" cy="84261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1" name="Picture Placeholder 16">
            <a:extLst>
              <a:ext uri="{FF2B5EF4-FFF2-40B4-BE49-F238E27FC236}">
                <a16:creationId xmlns:a16="http://schemas.microsoft.com/office/drawing/2014/main" id="{685F0D53-C75E-7484-74D3-A596B4C053E8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2630517" y="3708920"/>
            <a:ext cx="841740" cy="84261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BC30BB03-E00A-AF4C-9EB2-BEA4251E9E27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5675130" y="3708920"/>
            <a:ext cx="841740" cy="84261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3" name="Picture Placeholder 16">
            <a:extLst>
              <a:ext uri="{FF2B5EF4-FFF2-40B4-BE49-F238E27FC236}">
                <a16:creationId xmlns:a16="http://schemas.microsoft.com/office/drawing/2014/main" id="{5E0F2126-A251-05DE-F527-6758C4505513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719745" y="3708920"/>
            <a:ext cx="841740" cy="84261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99BCD23-7527-12B4-67C3-F7BAFC855146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1764146" y="2469240"/>
            <a:ext cx="2609361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200" b="1">
                <a:solidFill>
                  <a:schemeClr val="accent3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A1A83198-E062-E5C8-9333-99B5FAFBB190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1764146" y="2689473"/>
            <a:ext cx="2609361" cy="460800"/>
          </a:xfrm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>
                <a:solidFill>
                  <a:schemeClr val="bg1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22A0E40-1323-2DFE-54A2-22AAF02F3254}"/>
              </a:ext>
            </a:extLst>
          </p:cNvPr>
          <p:cNvSpPr>
            <a:spLocks noGrp="1"/>
          </p:cNvSpPr>
          <p:nvPr>
            <p:ph type="body" idx="34"/>
          </p:nvPr>
        </p:nvSpPr>
        <p:spPr>
          <a:xfrm>
            <a:off x="1764146" y="4654240"/>
            <a:ext cx="2609361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200" b="1">
                <a:solidFill>
                  <a:schemeClr val="accent3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1EB9D3C-3DF0-9EF2-B71C-5BAD126F8838}"/>
              </a:ext>
            </a:extLst>
          </p:cNvPr>
          <p:cNvSpPr>
            <a:spLocks noGrp="1"/>
          </p:cNvSpPr>
          <p:nvPr>
            <p:ph type="body" idx="35"/>
          </p:nvPr>
        </p:nvSpPr>
        <p:spPr>
          <a:xfrm>
            <a:off x="1764146" y="4874475"/>
            <a:ext cx="2609361" cy="460800"/>
          </a:xfrm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>
                <a:solidFill>
                  <a:schemeClr val="bg1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D8B7B248-375D-FE1C-50A7-3C891F7B7060}"/>
              </a:ext>
            </a:extLst>
          </p:cNvPr>
          <p:cNvSpPr>
            <a:spLocks noGrp="1"/>
          </p:cNvSpPr>
          <p:nvPr>
            <p:ph type="body" idx="36"/>
          </p:nvPr>
        </p:nvSpPr>
        <p:spPr>
          <a:xfrm>
            <a:off x="4802910" y="2469240"/>
            <a:ext cx="2609361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200" b="1">
                <a:solidFill>
                  <a:schemeClr val="accent3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2244413C-3A69-5633-2F77-353E644390AB}"/>
              </a:ext>
            </a:extLst>
          </p:cNvPr>
          <p:cNvSpPr>
            <a:spLocks noGrp="1"/>
          </p:cNvSpPr>
          <p:nvPr>
            <p:ph type="body" idx="37"/>
          </p:nvPr>
        </p:nvSpPr>
        <p:spPr>
          <a:xfrm>
            <a:off x="4802910" y="2689473"/>
            <a:ext cx="2609361" cy="460800"/>
          </a:xfrm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>
                <a:solidFill>
                  <a:schemeClr val="bg1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37413B81-B962-0B8B-AC9C-0FBE6EBF1F48}"/>
              </a:ext>
            </a:extLst>
          </p:cNvPr>
          <p:cNvSpPr>
            <a:spLocks noGrp="1"/>
          </p:cNvSpPr>
          <p:nvPr>
            <p:ph type="body" idx="38"/>
          </p:nvPr>
        </p:nvSpPr>
        <p:spPr>
          <a:xfrm>
            <a:off x="4802910" y="4654240"/>
            <a:ext cx="2609361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200" b="1">
                <a:solidFill>
                  <a:schemeClr val="accent3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6AAFDBC9-9FA9-FD46-8223-4373D5C16BD4}"/>
              </a:ext>
            </a:extLst>
          </p:cNvPr>
          <p:cNvSpPr>
            <a:spLocks noGrp="1"/>
          </p:cNvSpPr>
          <p:nvPr>
            <p:ph type="body" idx="39"/>
          </p:nvPr>
        </p:nvSpPr>
        <p:spPr>
          <a:xfrm>
            <a:off x="4802910" y="4874475"/>
            <a:ext cx="2609361" cy="460800"/>
          </a:xfrm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>
                <a:solidFill>
                  <a:schemeClr val="bg1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957E09BE-CB3B-0FB8-212D-4C35365FE0FB}"/>
              </a:ext>
            </a:extLst>
          </p:cNvPr>
          <p:cNvSpPr>
            <a:spLocks noGrp="1"/>
          </p:cNvSpPr>
          <p:nvPr>
            <p:ph type="body" idx="40"/>
          </p:nvPr>
        </p:nvSpPr>
        <p:spPr>
          <a:xfrm>
            <a:off x="7860146" y="2469240"/>
            <a:ext cx="2609361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200" b="1">
                <a:solidFill>
                  <a:schemeClr val="accent3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B96B291A-17E4-21A9-E901-07CBA3B9200D}"/>
              </a:ext>
            </a:extLst>
          </p:cNvPr>
          <p:cNvSpPr>
            <a:spLocks noGrp="1"/>
          </p:cNvSpPr>
          <p:nvPr>
            <p:ph type="body" idx="41"/>
          </p:nvPr>
        </p:nvSpPr>
        <p:spPr>
          <a:xfrm>
            <a:off x="7860146" y="2689473"/>
            <a:ext cx="2609361" cy="460800"/>
          </a:xfrm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>
                <a:solidFill>
                  <a:schemeClr val="bg1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AFBD751A-3A77-A054-8E5C-CEB564EB0592}"/>
              </a:ext>
            </a:extLst>
          </p:cNvPr>
          <p:cNvSpPr>
            <a:spLocks noGrp="1"/>
          </p:cNvSpPr>
          <p:nvPr>
            <p:ph type="body" idx="42"/>
          </p:nvPr>
        </p:nvSpPr>
        <p:spPr>
          <a:xfrm>
            <a:off x="7860146" y="4654240"/>
            <a:ext cx="2609361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200" b="1">
                <a:solidFill>
                  <a:schemeClr val="accent3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B0D7F3F9-08CB-9342-3FBB-B1874BE29B59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7860146" y="4874475"/>
            <a:ext cx="2609361" cy="460800"/>
          </a:xfrm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>
                <a:solidFill>
                  <a:schemeClr val="bg1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A3D2417-BA08-E14B-EC1A-0691501BFE87}"/>
              </a:ext>
            </a:extLst>
          </p:cNvPr>
          <p:cNvCxnSpPr>
            <a:cxnSpLocks/>
          </p:cNvCxnSpPr>
          <p:nvPr userDrawn="1"/>
        </p:nvCxnSpPr>
        <p:spPr>
          <a:xfrm>
            <a:off x="810657" y="1212999"/>
            <a:ext cx="500558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A9EB6F23-C5FC-CE3A-D4BC-91EF5C2816F5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716F44F-5A5E-749E-5177-D7C4261E1347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142A3381-4CF2-4514-9DA5-20C7C8F5A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5C6B1FE0-5D9B-F95E-15A7-A60DF1F29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1087F3E3-595C-E271-D005-B96FECDBD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E5FA0069-0997-DD06-EF0D-E02DBE874B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2E58FAB-6412-4C35-2488-CBA073A65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B7F7D904-36AD-5092-D334-AF1B6ED53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9AFEA94D-D8B4-FE4E-8A8A-1BF1D88A40E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735FA51F-8944-76C2-5389-D8716A33AC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D6DF3477-32B1-5131-2766-A83567AB54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F7002183-148C-69E3-C3D4-C7FCF420B74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78262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am Slide">
    <p:bg>
      <p:bgPr>
        <a:solidFill>
          <a:srgbClr val="1F2D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F2A037-D736-2706-417E-BD4F9980AD1B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722312" y="608460"/>
            <a:ext cx="10747376" cy="5355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73469C2-24BF-8BF1-5235-64A5544787F0}"/>
              </a:ext>
            </a:extLst>
          </p:cNvPr>
          <p:cNvSpPr>
            <a:spLocks noGrp="1" noChangeAspect="1"/>
          </p:cNvSpPr>
          <p:nvPr userDrawn="1">
            <p:ph type="pic" sz="quarter" idx="10"/>
          </p:nvPr>
        </p:nvSpPr>
        <p:spPr>
          <a:xfrm>
            <a:off x="858978" y="1823354"/>
            <a:ext cx="1816718" cy="1818612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A5555079-8577-CDCF-1628-2848F6C086C7}"/>
              </a:ext>
            </a:extLst>
          </p:cNvPr>
          <p:cNvSpPr>
            <a:spLocks noGrp="1" noChangeAspect="1"/>
          </p:cNvSpPr>
          <p:nvPr userDrawn="1">
            <p:ph type="pic" sz="quarter" idx="11"/>
          </p:nvPr>
        </p:nvSpPr>
        <p:spPr>
          <a:xfrm>
            <a:off x="3744752" y="1823354"/>
            <a:ext cx="1816718" cy="1818612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19" name="Picture Placeholder 16">
            <a:extLst>
              <a:ext uri="{FF2B5EF4-FFF2-40B4-BE49-F238E27FC236}">
                <a16:creationId xmlns:a16="http://schemas.microsoft.com/office/drawing/2014/main" id="{0A43A857-C71E-7CB3-033B-434DD4023498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6630526" y="1823354"/>
            <a:ext cx="1816718" cy="1818612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5" name="Picture Placeholder 16">
            <a:extLst>
              <a:ext uri="{FF2B5EF4-FFF2-40B4-BE49-F238E27FC236}">
                <a16:creationId xmlns:a16="http://schemas.microsoft.com/office/drawing/2014/main" id="{2F95B6BE-99C1-B0C3-6E8F-CD1EB06FBFCA}"/>
              </a:ext>
            </a:extLst>
          </p:cNvPr>
          <p:cNvSpPr>
            <a:spLocks noGrp="1" noChangeAspect="1"/>
          </p:cNvSpPr>
          <p:nvPr userDrawn="1">
            <p:ph type="pic" sz="quarter" idx="18"/>
          </p:nvPr>
        </p:nvSpPr>
        <p:spPr>
          <a:xfrm>
            <a:off x="9516300" y="1823354"/>
            <a:ext cx="1816718" cy="1818612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F1A58B61-18F3-125E-F7A4-129A69E4426D}"/>
              </a:ext>
            </a:extLst>
          </p:cNvPr>
          <p:cNvSpPr>
            <a:spLocks noGrp="1"/>
          </p:cNvSpPr>
          <p:nvPr userDrawn="1">
            <p:ph type="body" idx="22"/>
          </p:nvPr>
        </p:nvSpPr>
        <p:spPr>
          <a:xfrm>
            <a:off x="722312" y="3847808"/>
            <a:ext cx="2090054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200" b="1">
                <a:solidFill>
                  <a:schemeClr val="accent3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F64BC3FE-8779-4A6B-4E31-D96AC72298F7}"/>
              </a:ext>
            </a:extLst>
          </p:cNvPr>
          <p:cNvSpPr>
            <a:spLocks noGrp="1"/>
          </p:cNvSpPr>
          <p:nvPr userDrawn="1">
            <p:ph type="body" idx="23"/>
          </p:nvPr>
        </p:nvSpPr>
        <p:spPr>
          <a:xfrm>
            <a:off x="722312" y="4068041"/>
            <a:ext cx="2090054" cy="460800"/>
          </a:xfrm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>
                <a:solidFill>
                  <a:schemeClr val="bg1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BC305F85-6E43-0004-5B19-8A3E6DDCF519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3608086" y="3847808"/>
            <a:ext cx="2090054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200" b="1">
                <a:solidFill>
                  <a:schemeClr val="accent3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1888372F-8DEA-C490-5D15-69F53D106560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3608086" y="4068042"/>
            <a:ext cx="2090054" cy="460800"/>
          </a:xfrm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>
                <a:solidFill>
                  <a:schemeClr val="bg1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80D3D79D-CEA3-32D3-5BBB-23362BDD4D0C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6493860" y="3847808"/>
            <a:ext cx="2090054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200" b="1">
                <a:solidFill>
                  <a:schemeClr val="accent3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31AF77D6-5961-77C9-C265-B4F30A00996C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6493860" y="4068042"/>
            <a:ext cx="2090054" cy="460800"/>
          </a:xfrm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>
                <a:solidFill>
                  <a:schemeClr val="bg1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E4138D2B-3DBB-E047-9E6E-40BBEC6E62B8}"/>
              </a:ext>
            </a:extLst>
          </p:cNvPr>
          <p:cNvSpPr>
            <a:spLocks noGrp="1"/>
          </p:cNvSpPr>
          <p:nvPr>
            <p:ph type="body" idx="38"/>
          </p:nvPr>
        </p:nvSpPr>
        <p:spPr>
          <a:xfrm>
            <a:off x="9379634" y="3845852"/>
            <a:ext cx="2090054" cy="258532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200" b="1">
                <a:solidFill>
                  <a:schemeClr val="accent3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998DBD4F-E651-22EA-7F86-A4A29B047CF4}"/>
              </a:ext>
            </a:extLst>
          </p:cNvPr>
          <p:cNvSpPr>
            <a:spLocks noGrp="1"/>
          </p:cNvSpPr>
          <p:nvPr>
            <p:ph type="body" idx="39"/>
          </p:nvPr>
        </p:nvSpPr>
        <p:spPr>
          <a:xfrm>
            <a:off x="9379634" y="4066087"/>
            <a:ext cx="2090054" cy="460800"/>
          </a:xfrm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>
                <a:solidFill>
                  <a:schemeClr val="bg1"/>
                </a:solidFill>
              </a:defRPr>
            </a:lvl1pPr>
            <a:lvl2pPr marL="457203" indent="0">
              <a:buNone/>
              <a:defRPr sz="2000" b="1"/>
            </a:lvl2pPr>
            <a:lvl3pPr marL="914406" indent="0">
              <a:buNone/>
              <a:defRPr sz="1800" b="1"/>
            </a:lvl3pPr>
            <a:lvl4pPr marL="1371609" indent="0">
              <a:buNone/>
              <a:defRPr sz="1600" b="1"/>
            </a:lvl4pPr>
            <a:lvl5pPr marL="1828812" indent="0">
              <a:buNone/>
              <a:defRPr sz="1600" b="1"/>
            </a:lvl5pPr>
            <a:lvl6pPr marL="2286015" indent="0">
              <a:buNone/>
              <a:defRPr sz="1600" b="1"/>
            </a:lvl6pPr>
            <a:lvl7pPr marL="2743218" indent="0">
              <a:buNone/>
              <a:defRPr sz="1600" b="1"/>
            </a:lvl7pPr>
            <a:lvl8pPr marL="3200421" indent="0">
              <a:buNone/>
              <a:defRPr sz="1600" b="1"/>
            </a:lvl8pPr>
            <a:lvl9pPr marL="365762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EAA5563-6B68-45C1-D459-17BD966E89F2}"/>
              </a:ext>
            </a:extLst>
          </p:cNvPr>
          <p:cNvCxnSpPr>
            <a:cxnSpLocks/>
          </p:cNvCxnSpPr>
          <p:nvPr userDrawn="1"/>
        </p:nvCxnSpPr>
        <p:spPr>
          <a:xfrm>
            <a:off x="810657" y="1212999"/>
            <a:ext cx="500558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5BB20EFA-5876-94CC-26F6-7B57C0123CE4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07D57EE-B826-2062-4A92-64E07D9B426E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DAC30CA8-6326-0463-3258-999771A48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0719446B-390D-A63D-761C-90CAFB2A7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3B8D9915-3FA3-4978-7D5B-FD50577422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53A345A2-4795-1F78-69DE-FCD47F62E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CA3BCAF7-E4FE-32A0-EE78-DFE260B7E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B63E461E-7656-7BB6-AFFC-6C2D371A29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7F7DD1A6-099F-BCD7-C681-DCE5CDEB6CE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9C648463-B6F3-E0C3-3C13-2C7FDD2435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BA4E10E9-3473-50F6-0FD1-5426C91A66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75A159F3-CB7C-5696-11C3-54C21FAD9B4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50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FBF8A8E0-6908-9B2A-AB92-4B2410FA0C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739"/>
          <a:stretch/>
        </p:blipFill>
        <p:spPr>
          <a:xfrm>
            <a:off x="2514601" y="194422"/>
            <a:ext cx="9677400" cy="666357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FF2A037-D736-2706-417E-BD4F9980AD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2" y="608459"/>
            <a:ext cx="2813368" cy="5355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8659739-F39B-82EF-4652-9936AC2DBA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946843" y="1059180"/>
            <a:ext cx="7338377" cy="4594897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BFDE254-56BF-30C1-5BA3-B04827658945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D0D968D-68FA-C5DA-EE15-75ADD21C7141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C43C9CE2-9010-9767-33B9-E04DDA64D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BBDB2272-9EAE-982E-F44C-397753CBC9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64964347-6B26-1ACB-4CBC-8BAE88A1D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890B728B-89C0-F67B-3702-D3382BEFC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670342B8-5E6F-1EA9-0727-668527C99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308A33D9-71F8-3066-A782-9A2F46A01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0CC75850-825E-79A5-0429-D9778493F1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94C10E36-6A70-0E8D-D3B7-1719A805F3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393FD550-C85A-291A-7030-84A625C2CE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D906F82E-AC51-45D6-F642-ADDDD0313D6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7713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88D9A8-286D-39D5-EEC1-E69D4CA56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2" y="1852685"/>
            <a:ext cx="10747376" cy="5540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7D4822-F3FC-AC8E-E0A1-507BE64AA2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2312" y="2639684"/>
            <a:ext cx="5181600" cy="2738186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EFF46E5-F2B6-2516-324B-7621DFAEF632}"/>
              </a:ext>
            </a:extLst>
          </p:cNvPr>
          <p:cNvGrpSpPr/>
          <p:nvPr userDrawn="1"/>
        </p:nvGrpSpPr>
        <p:grpSpPr>
          <a:xfrm>
            <a:off x="724393" y="663496"/>
            <a:ext cx="1354263" cy="382171"/>
            <a:chOff x="3370030" y="2260711"/>
            <a:chExt cx="2531900" cy="714495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2A3D3A2A-2AE3-3EFC-81CC-CAFAB6239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F343393F-0C45-398A-8C43-21419763EC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AD35A035-4C47-39BC-5B78-6F2A7957F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E40F49F6-CE9B-B3D3-824A-1A1568CE90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5F86692D-3BA6-B4CA-2FAE-9CCD5B9460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91D28C8A-6B24-1830-A447-AEDEFFB6FA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73B0224C-EC3F-0B1B-B989-E6CBD43D32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E5BA2D1F-2A44-C49A-8592-C137ABE2E7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C70FAA2D-7769-A6CE-6037-CDBE08C0F8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B83945D7-60CA-8309-1E21-4E6ABE3822C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57711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9D9F76-471C-40F9-F0B3-C51ACA672C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98804" y="2351552"/>
            <a:ext cx="5497196" cy="1311128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4400" b="0" spc="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0253580-FCEF-9239-7944-8C636B0F40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98804" y="4140835"/>
            <a:ext cx="5497196" cy="341632"/>
          </a:xfrm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0">
                <a:solidFill>
                  <a:schemeClr val="accent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4CC0A2B8-498B-3693-DFBF-EEB52BF0815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94804" y="0"/>
            <a:ext cx="549719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BAE3D4A-DF33-8A6D-F236-4B4F03393149}"/>
              </a:ext>
            </a:extLst>
          </p:cNvPr>
          <p:cNvGrpSpPr/>
          <p:nvPr userDrawn="1"/>
        </p:nvGrpSpPr>
        <p:grpSpPr>
          <a:xfrm>
            <a:off x="724393" y="663496"/>
            <a:ext cx="1354263" cy="382171"/>
            <a:chOff x="3370030" y="2260711"/>
            <a:chExt cx="2531900" cy="714495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DE39A06D-61B0-6D3C-C83D-2F0BFAC4DA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58441B64-910C-D3D3-610E-9B39702C5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131AFB64-E7C3-D0C1-BC8C-2B888903DE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BD48710A-CD41-D4CC-D53C-12CB3A0EA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B0F45E08-F6EE-C603-0598-509C269150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3FC00B0A-A0EF-100F-4D13-E39388F75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5374141-EC0A-D2DA-D264-22B4733C36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72C4C97-05D3-828C-A063-C4B31EFFAA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B98AE35-B0E6-EF8C-ECB6-C9D9E397905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A4E5671-450C-64CC-BBD2-6CFDDC1AAE5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A61DC6F-9FB2-B5DE-BD02-FB14364A5094}"/>
              </a:ext>
            </a:extLst>
          </p:cNvPr>
          <p:cNvCxnSpPr>
            <a:cxnSpLocks/>
          </p:cNvCxnSpPr>
          <p:nvPr userDrawn="1"/>
        </p:nvCxnSpPr>
        <p:spPr>
          <a:xfrm>
            <a:off x="707141" y="3761326"/>
            <a:ext cx="585807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4665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E6F4E2-89BA-8767-1B37-8EAC9116B9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0255" y="2279678"/>
            <a:ext cx="4688319" cy="1500187"/>
          </a:xfrm>
        </p:spPr>
        <p:txBody>
          <a:bodyPr anchor="b"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3C4E23-5E24-DBC9-9796-DEAD73C56B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70255" y="4063252"/>
            <a:ext cx="4688319" cy="1500187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67796C1-3E57-13FD-8DA4-F0E0334B80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5924" r="-378" b="47883"/>
          <a:stretch/>
        </p:blipFill>
        <p:spPr>
          <a:xfrm>
            <a:off x="0" y="473943"/>
            <a:ext cx="6131937" cy="555705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5F8958A-2F3B-FA54-F224-813AD6CDC134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C79140C-1CD5-53C3-54CE-F02D109308BF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F223A67E-3A94-3BEE-20E3-02FC2A3354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9423402-8075-61E9-6009-18344A1DAA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98B2D3C9-9799-91FD-56F4-6AF8783B4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0B34A23-5974-8ACE-967A-D9EBE7CC14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3BA367C-F02C-7D99-AC29-E699CF9AC1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E6F7BF60-69FA-FF11-5752-22A2F71B55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F98489D-86DD-B914-EA3C-B3E1C333E2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FFED0D1A-5306-E8A0-4035-0410C10A63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7B4C4063-B281-D04F-8111-10B391970AE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56B024C-1971-5D53-AAF2-CED155A6F15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63137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F7D03A93-5677-DDE7-BA52-BD2AF63F09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262777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71AFF0E-C2B8-9DEB-EDDF-3F23C9E3DDA5}"/>
              </a:ext>
            </a:extLst>
          </p:cNvPr>
          <p:cNvSpPr/>
          <p:nvPr userDrawn="1"/>
        </p:nvSpPr>
        <p:spPr>
          <a:xfrm rot="10800000">
            <a:off x="6344354" y="-4"/>
            <a:ext cx="5847641" cy="6262776"/>
          </a:xfrm>
          <a:prstGeom prst="rect">
            <a:avLst/>
          </a:prstGeom>
          <a:gradFill>
            <a:gsLst>
              <a:gs pos="25000">
                <a:schemeClr val="tx1">
                  <a:alpha val="0"/>
                </a:schemeClr>
              </a:gs>
              <a:gs pos="81000">
                <a:schemeClr val="tx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E6F4E2-89BA-8767-1B37-8EAC9116B9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0255" y="2279678"/>
            <a:ext cx="4688319" cy="1500187"/>
          </a:xfrm>
        </p:spPr>
        <p:txBody>
          <a:bodyPr anchor="b"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3C4E23-5E24-DBC9-9796-DEAD73C56B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70255" y="4063252"/>
            <a:ext cx="4688319" cy="1500187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EDC8F2B-DA18-8F71-20FD-687F3EC89876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480A199-8864-7FCA-DEBD-9C6178172356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94707C16-F504-8FB0-D0C1-D399D2B1F1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D3663AF6-E08E-B68D-42CD-A2AE00806C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FCDFF2C-F770-345D-BE51-1FF1F87AE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9108D6E4-F760-790B-4E37-E13BFD4CD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829A7E6F-4749-E7BF-1CC8-6564AA244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2B67FCD4-1F95-6894-9104-60A51F02C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14D56DF9-B042-7A11-5926-9E858D985E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DD60156F-0A35-5BFF-B2F3-80DB8B97E3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44CA218C-ACEA-A872-D122-3AF0C760C05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6703C846-792B-3F7C-7126-17CEC98D3A6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0789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1A3C9E-CD93-8C01-67B7-775602E4D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CC89FF-16A1-229D-F206-FE090A1BA2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FD725E4-08E0-B368-2769-540CE46DD221}"/>
              </a:ext>
            </a:extLst>
          </p:cNvPr>
          <p:cNvCxnSpPr>
            <a:cxnSpLocks/>
          </p:cNvCxnSpPr>
          <p:nvPr userDrawn="1"/>
        </p:nvCxnSpPr>
        <p:spPr>
          <a:xfrm>
            <a:off x="810657" y="1212999"/>
            <a:ext cx="500558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21D03783-751B-7304-5F7B-E3246AC7B683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E9B301F-1175-0816-A455-D55C3945DB56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A49BB09A-1937-D6DD-3B05-581D8703CA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C83069C1-C8EF-4853-5BAA-FE1D5008B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63451527-67AB-3EA7-E891-55711D3372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68DB87A7-E640-AE43-8999-F35C268A0F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87BDAF32-ADAB-417D-510F-07AE0B5322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2BED63F4-76B5-547F-0880-29807A7E3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4FEB4D75-CB8D-8687-A0B9-1AED68D61D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CD1CEBCD-5D2A-5A57-9A2F-2F25F98B56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1A977C87-FDB0-8FD3-35E4-9A1FDC400C6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0F001D51-72A1-24FD-1728-924AC6EBA80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62555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E567E2-647D-B573-D203-5B63870A6F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2312" y="1475105"/>
            <a:ext cx="10747376" cy="424732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2400" b="0">
                <a:solidFill>
                  <a:srgbClr val="0099C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2C26292-9200-4253-C3BE-1D009DDA2D6B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722312" y="2011679"/>
            <a:ext cx="10747376" cy="4124009"/>
          </a:xfrm>
        </p:spPr>
        <p:txBody>
          <a:bodyPr/>
          <a:lstStyle>
            <a:lvl1pPr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898687B-6440-1E7D-C321-6E8A39D01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2" y="608459"/>
            <a:ext cx="10747376" cy="53553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0B061F7-264F-D67E-8FDE-1635509AB64E}"/>
              </a:ext>
            </a:extLst>
          </p:cNvPr>
          <p:cNvCxnSpPr>
            <a:cxnSpLocks/>
          </p:cNvCxnSpPr>
          <p:nvPr userDrawn="1"/>
        </p:nvCxnSpPr>
        <p:spPr>
          <a:xfrm>
            <a:off x="810657" y="1212999"/>
            <a:ext cx="500558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DCDEFA28-5F40-645F-2249-6FBCA0619A11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3849E5C-4DE0-5FA1-A0A6-38BE862079BB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5D0EB0C9-C386-EB7C-3566-1FCA12181E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F5861B48-845F-41D1-5BE2-D0D1F79B10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AD34539C-E3FD-F43D-9EF1-9E93B77B9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7F09AFB-2962-1E45-1316-31DB23238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6A268CF-5BD2-C63A-D470-632EA12BB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189C1C01-A6C0-8F0B-E8BF-121F02AC7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1EFC1876-10DD-D692-1566-63552F39CE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9890A492-3406-4812-495C-44B5A3EBFA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AC85D762-D46D-D008-FA25-74E407FEBD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F7743C6B-15FE-330A-6B4F-1F97AE5A2B5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6740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88D9A8-286D-39D5-EEC1-E69D4CA56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2" y="608459"/>
            <a:ext cx="10747376" cy="53553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7D4822-F3FC-AC8E-E0A1-507BE64AA2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2312" y="1475105"/>
            <a:ext cx="5181600" cy="4351338"/>
          </a:xfrm>
        </p:spPr>
        <p:txBody>
          <a:bodyPr/>
          <a:lstStyle>
            <a:lvl1pPr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BC5476B-178E-7E35-CDD5-0D9F23E332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88088" y="1475105"/>
            <a:ext cx="5181600" cy="4351338"/>
          </a:xfrm>
        </p:spPr>
        <p:txBody>
          <a:bodyPr/>
          <a:lstStyle>
            <a:lvl1pPr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933E537-D774-B636-995C-4C375E19C095}"/>
              </a:ext>
            </a:extLst>
          </p:cNvPr>
          <p:cNvCxnSpPr>
            <a:cxnSpLocks/>
          </p:cNvCxnSpPr>
          <p:nvPr userDrawn="1"/>
        </p:nvCxnSpPr>
        <p:spPr>
          <a:xfrm>
            <a:off x="810657" y="1212999"/>
            <a:ext cx="500558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B0DC4A66-849F-393C-C33D-7791E3DFA75E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816380B-FE4C-E8C8-C400-9021A9684C95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FB8FB7E0-89F4-258B-F1C6-F6DAE3900F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94ADFD93-76F3-5255-5D70-973DAE6FF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7A58C0B3-9A74-15ED-A3A2-611792E73A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87ED5DF7-372A-7FE8-7460-A8F26F49D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2F1BA40-17FB-D290-92D0-47D6A1952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3FDF4D51-3B39-B410-B1DF-D73E80E21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C154103-C1D9-2546-ACEF-D36B14F479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160BE4CD-E7BB-AE8B-7182-40CD1B6DEE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17D10ED3-D115-942D-2367-77A2162050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DF81B6F-EBCF-0305-C811-0FA1553B2E4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25206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E567E2-647D-B573-D203-5B63870A6F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2312" y="1475105"/>
            <a:ext cx="5157787" cy="424732"/>
          </a:xfrm>
        </p:spPr>
        <p:txBody>
          <a:bodyPr anchor="t" anchorCtr="0">
            <a:spAutoFit/>
          </a:bodyPr>
          <a:lstStyle>
            <a:lvl1pPr marL="0" indent="0">
              <a:buNone/>
              <a:defRPr sz="24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4B76B-3D09-8506-C2B0-ABF455127E9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86500" y="1475105"/>
            <a:ext cx="5183188" cy="424732"/>
          </a:xfrm>
        </p:spPr>
        <p:txBody>
          <a:bodyPr anchor="t" anchorCtr="0">
            <a:spAutoFit/>
          </a:bodyPr>
          <a:lstStyle>
            <a:lvl1pPr marL="0" indent="0">
              <a:buNone/>
              <a:defRPr sz="24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2C26292-9200-4253-C3BE-1D009DDA2D6B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722312" y="2011679"/>
            <a:ext cx="5181600" cy="3814763"/>
          </a:xfrm>
        </p:spPr>
        <p:txBody>
          <a:bodyPr/>
          <a:lstStyle>
            <a:lvl1pPr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94D1BD63-072F-72FD-873E-DE5CAB1CD1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88088" y="2011679"/>
            <a:ext cx="5181600" cy="3814763"/>
          </a:xfrm>
        </p:spPr>
        <p:txBody>
          <a:bodyPr/>
          <a:lstStyle>
            <a:lvl1pPr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898687B-6440-1E7D-C321-6E8A39D01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2" y="608459"/>
            <a:ext cx="10747376" cy="53553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8FCC8E0-BF9E-85A1-FCC1-336B70E40C44}"/>
              </a:ext>
            </a:extLst>
          </p:cNvPr>
          <p:cNvCxnSpPr>
            <a:cxnSpLocks/>
          </p:cNvCxnSpPr>
          <p:nvPr userDrawn="1"/>
        </p:nvCxnSpPr>
        <p:spPr>
          <a:xfrm>
            <a:off x="810657" y="1212999"/>
            <a:ext cx="500558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DACA9D57-4E89-5FF6-F4A4-57A07C889455}"/>
              </a:ext>
            </a:extLst>
          </p:cNvPr>
          <p:cNvSpPr/>
          <p:nvPr userDrawn="1"/>
        </p:nvSpPr>
        <p:spPr>
          <a:xfrm>
            <a:off x="0" y="6274450"/>
            <a:ext cx="12192000" cy="583550"/>
          </a:xfrm>
          <a:prstGeom prst="rect">
            <a:avLst/>
          </a:prstGeom>
          <a:solidFill>
            <a:srgbClr val="283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9279397-7C3B-24AF-FFF1-014062016ABF}"/>
              </a:ext>
            </a:extLst>
          </p:cNvPr>
          <p:cNvGrpSpPr/>
          <p:nvPr userDrawn="1"/>
        </p:nvGrpSpPr>
        <p:grpSpPr>
          <a:xfrm>
            <a:off x="724394" y="6483517"/>
            <a:ext cx="613412" cy="173104"/>
            <a:chOff x="3370030" y="2260711"/>
            <a:chExt cx="2531900" cy="714495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375055EB-1D47-5333-FEF3-23742644D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960" y="2292976"/>
              <a:ext cx="213122" cy="348854"/>
            </a:xfrm>
            <a:custGeom>
              <a:avLst/>
              <a:gdLst>
                <a:gd name="T0" fmla="*/ 0 w 104"/>
                <a:gd name="T1" fmla="*/ 143 h 169"/>
                <a:gd name="T2" fmla="*/ 2 w 104"/>
                <a:gd name="T3" fmla="*/ 140 h 169"/>
                <a:gd name="T4" fmla="*/ 60 w 104"/>
                <a:gd name="T5" fmla="*/ 71 h 169"/>
                <a:gd name="T6" fmla="*/ 70 w 104"/>
                <a:gd name="T7" fmla="*/ 48 h 169"/>
                <a:gd name="T8" fmla="*/ 52 w 104"/>
                <a:gd name="T9" fmla="*/ 29 h 169"/>
                <a:gd name="T10" fmla="*/ 32 w 104"/>
                <a:gd name="T11" fmla="*/ 49 h 169"/>
                <a:gd name="T12" fmla="*/ 29 w 104"/>
                <a:gd name="T13" fmla="*/ 51 h 169"/>
                <a:gd name="T14" fmla="*/ 3 w 104"/>
                <a:gd name="T15" fmla="*/ 46 h 169"/>
                <a:gd name="T16" fmla="*/ 1 w 104"/>
                <a:gd name="T17" fmla="*/ 43 h 169"/>
                <a:gd name="T18" fmla="*/ 53 w 104"/>
                <a:gd name="T19" fmla="*/ 0 h 169"/>
                <a:gd name="T20" fmla="*/ 104 w 104"/>
                <a:gd name="T21" fmla="*/ 48 h 169"/>
                <a:gd name="T22" fmla="*/ 87 w 104"/>
                <a:gd name="T23" fmla="*/ 88 h 169"/>
                <a:gd name="T24" fmla="*/ 43 w 104"/>
                <a:gd name="T25" fmla="*/ 139 h 169"/>
                <a:gd name="T26" fmla="*/ 43 w 104"/>
                <a:gd name="T27" fmla="*/ 140 h 169"/>
                <a:gd name="T28" fmla="*/ 101 w 104"/>
                <a:gd name="T29" fmla="*/ 140 h 169"/>
                <a:gd name="T30" fmla="*/ 104 w 104"/>
                <a:gd name="T31" fmla="*/ 142 h 169"/>
                <a:gd name="T32" fmla="*/ 104 w 104"/>
                <a:gd name="T33" fmla="*/ 166 h 169"/>
                <a:gd name="T34" fmla="*/ 101 w 104"/>
                <a:gd name="T35" fmla="*/ 169 h 169"/>
                <a:gd name="T36" fmla="*/ 3 w 104"/>
                <a:gd name="T37" fmla="*/ 169 h 169"/>
                <a:gd name="T38" fmla="*/ 0 w 104"/>
                <a:gd name="T39" fmla="*/ 166 h 169"/>
                <a:gd name="T40" fmla="*/ 0 w 104"/>
                <a:gd name="T41" fmla="*/ 14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69">
                  <a:moveTo>
                    <a:pt x="0" y="143"/>
                  </a:moveTo>
                  <a:cubicBezTo>
                    <a:pt x="0" y="142"/>
                    <a:pt x="1" y="141"/>
                    <a:pt x="2" y="14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6" y="64"/>
                    <a:pt x="70" y="57"/>
                    <a:pt x="70" y="48"/>
                  </a:cubicBezTo>
                  <a:cubicBezTo>
                    <a:pt x="70" y="37"/>
                    <a:pt x="63" y="29"/>
                    <a:pt x="52" y="29"/>
                  </a:cubicBezTo>
                  <a:cubicBezTo>
                    <a:pt x="40" y="29"/>
                    <a:pt x="34" y="36"/>
                    <a:pt x="32" y="49"/>
                  </a:cubicBezTo>
                  <a:cubicBezTo>
                    <a:pt x="32" y="50"/>
                    <a:pt x="31" y="51"/>
                    <a:pt x="29" y="51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1" y="46"/>
                    <a:pt x="0" y="45"/>
                    <a:pt x="1" y="43"/>
                  </a:cubicBezTo>
                  <a:cubicBezTo>
                    <a:pt x="2" y="20"/>
                    <a:pt x="21" y="0"/>
                    <a:pt x="53" y="0"/>
                  </a:cubicBezTo>
                  <a:cubicBezTo>
                    <a:pt x="84" y="0"/>
                    <a:pt x="104" y="21"/>
                    <a:pt x="104" y="48"/>
                  </a:cubicBezTo>
                  <a:cubicBezTo>
                    <a:pt x="104" y="63"/>
                    <a:pt x="97" y="76"/>
                    <a:pt x="87" y="88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0"/>
                    <a:pt x="43" y="140"/>
                    <a:pt x="43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3" y="140"/>
                    <a:pt x="104" y="141"/>
                    <a:pt x="104" y="142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4" y="168"/>
                    <a:pt x="103" y="169"/>
                    <a:pt x="101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69"/>
                    <a:pt x="0" y="168"/>
                    <a:pt x="0" y="166"/>
                  </a:cubicBezTo>
                  <a:lnTo>
                    <a:pt x="0" y="143"/>
                  </a:lnTo>
                  <a:close/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5FCDADDA-B8D9-37B2-A286-DA17C340DF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95" y="2298930"/>
              <a:ext cx="236935" cy="342900"/>
            </a:xfrm>
            <a:custGeom>
              <a:avLst/>
              <a:gdLst>
                <a:gd name="T0" fmla="*/ 0 w 116"/>
                <a:gd name="T1" fmla="*/ 139 h 166"/>
                <a:gd name="T2" fmla="*/ 0 w 116"/>
                <a:gd name="T3" fmla="*/ 114 h 166"/>
                <a:gd name="T4" fmla="*/ 1 w 116"/>
                <a:gd name="T5" fmla="*/ 111 h 166"/>
                <a:gd name="T6" fmla="*/ 50 w 116"/>
                <a:gd name="T7" fmla="*/ 2 h 166"/>
                <a:gd name="T8" fmla="*/ 54 w 116"/>
                <a:gd name="T9" fmla="*/ 0 h 166"/>
                <a:gd name="T10" fmla="*/ 85 w 116"/>
                <a:gd name="T11" fmla="*/ 0 h 166"/>
                <a:gd name="T12" fmla="*/ 86 w 116"/>
                <a:gd name="T13" fmla="*/ 3 h 166"/>
                <a:gd name="T14" fmla="*/ 37 w 116"/>
                <a:gd name="T15" fmla="*/ 111 h 166"/>
                <a:gd name="T16" fmla="*/ 37 w 116"/>
                <a:gd name="T17" fmla="*/ 112 h 166"/>
                <a:gd name="T18" fmla="*/ 67 w 116"/>
                <a:gd name="T19" fmla="*/ 112 h 166"/>
                <a:gd name="T20" fmla="*/ 68 w 116"/>
                <a:gd name="T21" fmla="*/ 111 h 166"/>
                <a:gd name="T22" fmla="*/ 68 w 116"/>
                <a:gd name="T23" fmla="*/ 75 h 166"/>
                <a:gd name="T24" fmla="*/ 71 w 116"/>
                <a:gd name="T25" fmla="*/ 72 h 166"/>
                <a:gd name="T26" fmla="*/ 99 w 116"/>
                <a:gd name="T27" fmla="*/ 72 h 166"/>
                <a:gd name="T28" fmla="*/ 102 w 116"/>
                <a:gd name="T29" fmla="*/ 75 h 166"/>
                <a:gd name="T30" fmla="*/ 102 w 116"/>
                <a:gd name="T31" fmla="*/ 111 h 166"/>
                <a:gd name="T32" fmla="*/ 103 w 116"/>
                <a:gd name="T33" fmla="*/ 112 h 166"/>
                <a:gd name="T34" fmla="*/ 114 w 116"/>
                <a:gd name="T35" fmla="*/ 112 h 166"/>
                <a:gd name="T36" fmla="*/ 116 w 116"/>
                <a:gd name="T37" fmla="*/ 114 h 166"/>
                <a:gd name="T38" fmla="*/ 116 w 116"/>
                <a:gd name="T39" fmla="*/ 139 h 166"/>
                <a:gd name="T40" fmla="*/ 114 w 116"/>
                <a:gd name="T41" fmla="*/ 141 h 166"/>
                <a:gd name="T42" fmla="*/ 103 w 116"/>
                <a:gd name="T43" fmla="*/ 141 h 166"/>
                <a:gd name="T44" fmla="*/ 102 w 116"/>
                <a:gd name="T45" fmla="*/ 143 h 166"/>
                <a:gd name="T46" fmla="*/ 102 w 116"/>
                <a:gd name="T47" fmla="*/ 163 h 166"/>
                <a:gd name="T48" fmla="*/ 99 w 116"/>
                <a:gd name="T49" fmla="*/ 166 h 166"/>
                <a:gd name="T50" fmla="*/ 71 w 116"/>
                <a:gd name="T51" fmla="*/ 166 h 166"/>
                <a:gd name="T52" fmla="*/ 68 w 116"/>
                <a:gd name="T53" fmla="*/ 163 h 166"/>
                <a:gd name="T54" fmla="*/ 68 w 116"/>
                <a:gd name="T55" fmla="*/ 143 h 166"/>
                <a:gd name="T56" fmla="*/ 67 w 116"/>
                <a:gd name="T57" fmla="*/ 141 h 166"/>
                <a:gd name="T58" fmla="*/ 3 w 116"/>
                <a:gd name="T59" fmla="*/ 141 h 166"/>
                <a:gd name="T60" fmla="*/ 0 w 116"/>
                <a:gd name="T61" fmla="*/ 13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66">
                  <a:moveTo>
                    <a:pt x="0" y="139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2"/>
                    <a:pt x="1" y="11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6" y="3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8" y="112"/>
                    <a:pt x="68" y="112"/>
                    <a:pt x="68" y="11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8" y="73"/>
                    <a:pt x="69" y="72"/>
                    <a:pt x="71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1" y="72"/>
                    <a:pt x="102" y="73"/>
                    <a:pt x="102" y="75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2"/>
                    <a:pt x="102" y="112"/>
                    <a:pt x="103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3"/>
                    <a:pt x="116" y="114"/>
                  </a:cubicBezTo>
                  <a:cubicBezTo>
                    <a:pt x="116" y="139"/>
                    <a:pt x="116" y="139"/>
                    <a:pt x="116" y="139"/>
                  </a:cubicBezTo>
                  <a:cubicBezTo>
                    <a:pt x="116" y="140"/>
                    <a:pt x="115" y="141"/>
                    <a:pt x="114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2" y="141"/>
                    <a:pt x="102" y="142"/>
                    <a:pt x="102" y="14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2" y="165"/>
                    <a:pt x="101" y="166"/>
                    <a:pt x="99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9" y="166"/>
                    <a:pt x="68" y="165"/>
                    <a:pt x="68" y="16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2"/>
                    <a:pt x="68" y="141"/>
                    <a:pt x="67" y="141"/>
                  </a:cubicBezTo>
                  <a:cubicBezTo>
                    <a:pt x="3" y="141"/>
                    <a:pt x="3" y="141"/>
                    <a:pt x="3" y="141"/>
                  </a:cubicBezTo>
                  <a:cubicBezTo>
                    <a:pt x="1" y="141"/>
                    <a:pt x="0" y="140"/>
                    <a:pt x="0" y="139"/>
                  </a:cubicBezTo>
                </a:path>
              </a:pathLst>
            </a:custGeom>
            <a:solidFill>
              <a:srgbClr val="EDC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D52EA0EE-9A1C-791A-1EB1-1D59764D3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39" y="2295359"/>
              <a:ext cx="235744" cy="679847"/>
            </a:xfrm>
            <a:custGeom>
              <a:avLst/>
              <a:gdLst>
                <a:gd name="T0" fmla="*/ 110 w 115"/>
                <a:gd name="T1" fmla="*/ 267 h 330"/>
                <a:gd name="T2" fmla="*/ 110 w 115"/>
                <a:gd name="T3" fmla="*/ 267 h 330"/>
                <a:gd name="T4" fmla="*/ 71 w 115"/>
                <a:gd name="T5" fmla="*/ 207 h 330"/>
                <a:gd name="T6" fmla="*/ 71 w 115"/>
                <a:gd name="T7" fmla="*/ 5 h 330"/>
                <a:gd name="T8" fmla="*/ 66 w 115"/>
                <a:gd name="T9" fmla="*/ 0 h 330"/>
                <a:gd name="T10" fmla="*/ 5 w 115"/>
                <a:gd name="T11" fmla="*/ 0 h 330"/>
                <a:gd name="T12" fmla="*/ 0 w 115"/>
                <a:gd name="T13" fmla="*/ 5 h 330"/>
                <a:gd name="T14" fmla="*/ 0 w 115"/>
                <a:gd name="T15" fmla="*/ 205 h 330"/>
                <a:gd name="T16" fmla="*/ 109 w 115"/>
                <a:gd name="T17" fmla="*/ 330 h 330"/>
                <a:gd name="T18" fmla="*/ 109 w 115"/>
                <a:gd name="T19" fmla="*/ 330 h 330"/>
                <a:gd name="T20" fmla="*/ 110 w 115"/>
                <a:gd name="T21" fmla="*/ 330 h 330"/>
                <a:gd name="T22" fmla="*/ 110 w 115"/>
                <a:gd name="T23" fmla="*/ 330 h 330"/>
                <a:gd name="T24" fmla="*/ 110 w 115"/>
                <a:gd name="T25" fmla="*/ 330 h 330"/>
                <a:gd name="T26" fmla="*/ 115 w 115"/>
                <a:gd name="T27" fmla="*/ 324 h 330"/>
                <a:gd name="T28" fmla="*/ 115 w 115"/>
                <a:gd name="T29" fmla="*/ 272 h 330"/>
                <a:gd name="T30" fmla="*/ 110 w 115"/>
                <a:gd name="T31" fmla="*/ 26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330">
                  <a:moveTo>
                    <a:pt x="110" y="267"/>
                  </a:moveTo>
                  <a:cubicBezTo>
                    <a:pt x="110" y="267"/>
                    <a:pt x="110" y="267"/>
                    <a:pt x="110" y="267"/>
                  </a:cubicBezTo>
                  <a:cubicBezTo>
                    <a:pt x="83" y="263"/>
                    <a:pt x="71" y="242"/>
                    <a:pt x="71" y="207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82"/>
                    <a:pt x="42" y="325"/>
                    <a:pt x="109" y="330"/>
                  </a:cubicBezTo>
                  <a:cubicBezTo>
                    <a:pt x="109" y="330"/>
                    <a:pt x="109" y="330"/>
                    <a:pt x="109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0" y="330"/>
                    <a:pt x="110" y="330"/>
                    <a:pt x="110" y="330"/>
                  </a:cubicBezTo>
                  <a:cubicBezTo>
                    <a:pt x="113" y="330"/>
                    <a:pt x="115" y="327"/>
                    <a:pt x="115" y="324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5" y="269"/>
                    <a:pt x="113" y="267"/>
                    <a:pt x="110" y="2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2BAFD375-C2F7-3007-5B00-34DECC6DA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880" y="2295359"/>
              <a:ext cx="241697" cy="679847"/>
            </a:xfrm>
            <a:custGeom>
              <a:avLst/>
              <a:gdLst>
                <a:gd name="T0" fmla="*/ 113 w 118"/>
                <a:gd name="T1" fmla="*/ 0 h 330"/>
                <a:gd name="T2" fmla="*/ 53 w 118"/>
                <a:gd name="T3" fmla="*/ 0 h 330"/>
                <a:gd name="T4" fmla="*/ 48 w 118"/>
                <a:gd name="T5" fmla="*/ 5 h 330"/>
                <a:gd name="T6" fmla="*/ 48 w 118"/>
                <a:gd name="T7" fmla="*/ 207 h 330"/>
                <a:gd name="T8" fmla="*/ 6 w 118"/>
                <a:gd name="T9" fmla="*/ 267 h 330"/>
                <a:gd name="T10" fmla="*/ 6 w 118"/>
                <a:gd name="T11" fmla="*/ 267 h 330"/>
                <a:gd name="T12" fmla="*/ 5 w 118"/>
                <a:gd name="T13" fmla="*/ 267 h 330"/>
                <a:gd name="T14" fmla="*/ 0 w 118"/>
                <a:gd name="T15" fmla="*/ 272 h 330"/>
                <a:gd name="T16" fmla="*/ 0 w 118"/>
                <a:gd name="T17" fmla="*/ 325 h 330"/>
                <a:gd name="T18" fmla="*/ 5 w 118"/>
                <a:gd name="T19" fmla="*/ 330 h 330"/>
                <a:gd name="T20" fmla="*/ 6 w 118"/>
                <a:gd name="T21" fmla="*/ 330 h 330"/>
                <a:gd name="T22" fmla="*/ 7 w 118"/>
                <a:gd name="T23" fmla="*/ 330 h 330"/>
                <a:gd name="T24" fmla="*/ 118 w 118"/>
                <a:gd name="T25" fmla="*/ 205 h 330"/>
                <a:gd name="T26" fmla="*/ 118 w 118"/>
                <a:gd name="T27" fmla="*/ 5 h 330"/>
                <a:gd name="T28" fmla="*/ 113 w 118"/>
                <a:gd name="T2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330">
                  <a:moveTo>
                    <a:pt x="11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0" y="0"/>
                    <a:pt x="48" y="2"/>
                    <a:pt x="48" y="5"/>
                  </a:cubicBezTo>
                  <a:cubicBezTo>
                    <a:pt x="48" y="207"/>
                    <a:pt x="48" y="207"/>
                    <a:pt x="48" y="207"/>
                  </a:cubicBezTo>
                  <a:cubicBezTo>
                    <a:pt x="48" y="242"/>
                    <a:pt x="33" y="263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7"/>
                    <a:pt x="5" y="267"/>
                    <a:pt x="5" y="267"/>
                  </a:cubicBezTo>
                  <a:cubicBezTo>
                    <a:pt x="3" y="267"/>
                    <a:pt x="0" y="270"/>
                    <a:pt x="0" y="272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7"/>
                    <a:pt x="3" y="330"/>
                    <a:pt x="5" y="330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4" y="326"/>
                    <a:pt x="118" y="282"/>
                    <a:pt x="118" y="20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6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C2E50A43-AD44-3CE0-0089-84C76D8F9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295358"/>
              <a:ext cx="144066" cy="209550"/>
            </a:xfrm>
            <a:custGeom>
              <a:avLst/>
              <a:gdLst>
                <a:gd name="T0" fmla="*/ 0 w 70"/>
                <a:gd name="T1" fmla="*/ 5 h 102"/>
                <a:gd name="T2" fmla="*/ 0 w 70"/>
                <a:gd name="T3" fmla="*/ 97 h 102"/>
                <a:gd name="T4" fmla="*/ 6 w 70"/>
                <a:gd name="T5" fmla="*/ 102 h 102"/>
                <a:gd name="T6" fmla="*/ 65 w 70"/>
                <a:gd name="T7" fmla="*/ 102 h 102"/>
                <a:gd name="T8" fmla="*/ 70 w 70"/>
                <a:gd name="T9" fmla="*/ 97 h 102"/>
                <a:gd name="T10" fmla="*/ 70 w 70"/>
                <a:gd name="T11" fmla="*/ 5 h 102"/>
                <a:gd name="T12" fmla="*/ 65 w 70"/>
                <a:gd name="T13" fmla="*/ 0 h 102"/>
                <a:gd name="T14" fmla="*/ 6 w 70"/>
                <a:gd name="T15" fmla="*/ 0 h 102"/>
                <a:gd name="T16" fmla="*/ 0 w 70"/>
                <a:gd name="T17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2">
                  <a:moveTo>
                    <a:pt x="0" y="5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100"/>
                    <a:pt x="3" y="102"/>
                    <a:pt x="6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8" y="102"/>
                    <a:pt x="70" y="100"/>
                    <a:pt x="70" y="9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D9B6746-5B9E-F2B4-7CDD-751C030E55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756" y="2750178"/>
              <a:ext cx="144066" cy="211931"/>
            </a:xfrm>
            <a:custGeom>
              <a:avLst/>
              <a:gdLst>
                <a:gd name="T0" fmla="*/ 0 w 70"/>
                <a:gd name="T1" fmla="*/ 5 h 103"/>
                <a:gd name="T2" fmla="*/ 0 w 70"/>
                <a:gd name="T3" fmla="*/ 98 h 103"/>
                <a:gd name="T4" fmla="*/ 6 w 70"/>
                <a:gd name="T5" fmla="*/ 103 h 103"/>
                <a:gd name="T6" fmla="*/ 65 w 70"/>
                <a:gd name="T7" fmla="*/ 103 h 103"/>
                <a:gd name="T8" fmla="*/ 70 w 70"/>
                <a:gd name="T9" fmla="*/ 98 h 103"/>
                <a:gd name="T10" fmla="*/ 70 w 70"/>
                <a:gd name="T11" fmla="*/ 5 h 103"/>
                <a:gd name="T12" fmla="*/ 65 w 70"/>
                <a:gd name="T13" fmla="*/ 0 h 103"/>
                <a:gd name="T14" fmla="*/ 6 w 70"/>
                <a:gd name="T15" fmla="*/ 0 h 103"/>
                <a:gd name="T16" fmla="*/ 0 w 70"/>
                <a:gd name="T17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03">
                  <a:moveTo>
                    <a:pt x="0" y="5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3" y="103"/>
                    <a:pt x="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8" y="103"/>
                    <a:pt x="70" y="101"/>
                    <a:pt x="70" y="9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9570">
                <a:defRPr/>
              </a:pPr>
              <a:endParaRPr lang="pt-BR" sz="135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FD92BC07-A0D9-ED1E-5D15-98CE146F53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276"/>
            <a:stretch/>
          </p:blipFill>
          <p:spPr>
            <a:xfrm>
              <a:off x="3760979" y="2292518"/>
              <a:ext cx="138075" cy="667570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DF3B596F-30FA-12BC-A4C5-E76C340EA3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69" t="37739" r="27569" b="36742"/>
            <a:stretch/>
          </p:blipFill>
          <p:spPr>
            <a:xfrm>
              <a:off x="3370030" y="2544450"/>
              <a:ext cx="390950" cy="170358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B4B3648D-8889-524D-2588-81027C8584C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516" r="70766"/>
            <a:stretch/>
          </p:blipFill>
          <p:spPr>
            <a:xfrm>
              <a:off x="4769823" y="2439785"/>
              <a:ext cx="144365" cy="523938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6327525C-78CD-81EC-039B-EC5C4C443B6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1548" y="2260711"/>
              <a:ext cx="530398" cy="7041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55006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F2D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7363AD6-6F93-7477-4159-DAE5AFFF53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965894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59" imgH="358" progId="TCLayout.ActiveDocument.1">
                  <p:embed/>
                </p:oleObj>
              </mc:Choice>
              <mc:Fallback>
                <p:oleObj name="think-cell Slide" r:id="rId30" imgW="359" imgH="35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7363AD6-6F93-7477-4159-DAE5AFFF53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018D722-AE80-B47B-ED4E-17BD679003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2" y="608459"/>
            <a:ext cx="10747376" cy="5355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279A38-5110-2142-E097-872F4B2BD5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2312" y="1480184"/>
            <a:ext cx="10747375" cy="465550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61712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99" r:id="rId2"/>
    <p:sldLayoutId id="2147483872" r:id="rId3"/>
    <p:sldLayoutId id="2147483767" r:id="rId4"/>
    <p:sldLayoutId id="2147483889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98" r:id="rId11"/>
    <p:sldLayoutId id="2147483895" r:id="rId12"/>
    <p:sldLayoutId id="2147483881" r:id="rId13"/>
    <p:sldLayoutId id="2147483882" r:id="rId14"/>
    <p:sldLayoutId id="2147483893" r:id="rId15"/>
    <p:sldLayoutId id="2147483776" r:id="rId16"/>
    <p:sldLayoutId id="2147483769" r:id="rId17"/>
    <p:sldLayoutId id="2147483770" r:id="rId18"/>
    <p:sldLayoutId id="2147483771" r:id="rId19"/>
    <p:sldLayoutId id="2147483772" r:id="rId20"/>
    <p:sldLayoutId id="2147483773" r:id="rId21"/>
    <p:sldLayoutId id="2147483897" r:id="rId22"/>
    <p:sldLayoutId id="2147483896" r:id="rId23"/>
    <p:sldLayoutId id="2147483891" r:id="rId24"/>
    <p:sldLayoutId id="2147483892" r:id="rId25"/>
    <p:sldLayoutId id="2147483883" r:id="rId26"/>
    <p:sldLayoutId id="2147483885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 spc="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54">
          <p15:clr>
            <a:srgbClr val="F26B43"/>
          </p15:clr>
        </p15:guide>
        <p15:guide id="2" pos="7225">
          <p15:clr>
            <a:srgbClr val="F26B43"/>
          </p15:clr>
        </p15:guide>
        <p15:guide id="3" orient="horz" pos="444">
          <p15:clr>
            <a:srgbClr val="F26B43"/>
          </p15:clr>
        </p15:guide>
        <p15:guide id="4" orient="horz" pos="38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A42154-AAB5-5FEB-8A8B-53BCEBC896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8804" y="2351552"/>
            <a:ext cx="5497196" cy="1311128"/>
          </a:xfrm>
        </p:spPr>
        <p:txBody>
          <a:bodyPr/>
          <a:lstStyle/>
          <a:p>
            <a:r>
              <a:rPr lang="en-AU" dirty="0"/>
              <a:t>Data Visualisation Projec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C9E0268-7263-5BC5-1377-128836BC122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AU" dirty="0"/>
              <a:t>Newton Long 15/02/2024</a:t>
            </a:r>
          </a:p>
        </p:txBody>
      </p:sp>
      <p:pic>
        <p:nvPicPr>
          <p:cNvPr id="6" name="Picture Placeholder 5" descr="A collage of different colored images&#10;&#10;Description automatically generated">
            <a:extLst>
              <a:ext uri="{FF2B5EF4-FFF2-40B4-BE49-F238E27FC236}">
                <a16:creationId xmlns:a16="http://schemas.microsoft.com/office/drawing/2014/main" id="{EBC73E4D-ABD3-CB0E-6811-93D14965CC7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46" r="2744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097888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9A5557-3FA1-652A-C35F-D1E036538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Tracking Investor Performance (2</a:t>
            </a:r>
            <a:r>
              <a:rPr lang="en-AU" baseline="30000" dirty="0"/>
              <a:t>nd</a:t>
            </a:r>
            <a:r>
              <a:rPr lang="en-AU" dirty="0"/>
              <a:t> page)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7774FB8-0D19-8CFE-FC5C-B91647EF87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88088" y="1483418"/>
            <a:ext cx="5181600" cy="4351338"/>
          </a:xfrm>
        </p:spPr>
        <p:txBody>
          <a:bodyPr/>
          <a:lstStyle/>
          <a:p>
            <a:r>
              <a:rPr lang="en-AU" dirty="0"/>
              <a:t>Line graph representation?</a:t>
            </a:r>
          </a:p>
          <a:p>
            <a:endParaRPr lang="en-AU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E925F5-6657-B492-CACB-323E87C8721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AU" dirty="0"/>
              <a:t>Benchmarking feature to compare different accounts and their results?</a:t>
            </a:r>
          </a:p>
          <a:p>
            <a:r>
              <a:rPr lang="en-AU" dirty="0"/>
              <a:t>Performance summarisation feature? </a:t>
            </a:r>
          </a:p>
          <a:p>
            <a:r>
              <a:rPr lang="en-AU" dirty="0"/>
              <a:t>Analysing anonymized data</a:t>
            </a:r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270297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0">
            <a:extLst>
              <a:ext uri="{FF2B5EF4-FFF2-40B4-BE49-F238E27FC236}">
                <a16:creationId xmlns:a16="http://schemas.microsoft.com/office/drawing/2014/main" id="{037067D9-B178-3813-80F8-CD060468B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2" y="608459"/>
            <a:ext cx="2813368" cy="535531"/>
          </a:xfrm>
        </p:spPr>
        <p:txBody>
          <a:bodyPr/>
          <a:lstStyle/>
          <a:p>
            <a:r>
              <a:rPr lang="en-AU" dirty="0"/>
              <a:t>2</a:t>
            </a:r>
            <a:r>
              <a:rPr lang="en-AU" baseline="30000" dirty="0"/>
              <a:t>ND</a:t>
            </a:r>
            <a:r>
              <a:rPr lang="en-AU" dirty="0"/>
              <a:t> Pag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1486A7E-1534-B679-3130-23C8BC0B47AE}"/>
              </a:ext>
            </a:extLst>
          </p:cNvPr>
          <p:cNvCxnSpPr>
            <a:cxnSpLocks/>
          </p:cNvCxnSpPr>
          <p:nvPr/>
        </p:nvCxnSpPr>
        <p:spPr>
          <a:xfrm>
            <a:off x="810657" y="1652947"/>
            <a:ext cx="500558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CDC932AB-F47D-2A39-7522-169333E07AB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 l="306" r="4174" b="-693"/>
          <a:stretch/>
        </p:blipFill>
        <p:spPr>
          <a:xfrm>
            <a:off x="3965171" y="1072343"/>
            <a:ext cx="7281949" cy="4571997"/>
          </a:xfrm>
        </p:spPr>
      </p:pic>
    </p:spTree>
    <p:extLst>
      <p:ext uri="{BB962C8B-B14F-4D97-AF65-F5344CB8AC3E}">
        <p14:creationId xmlns:p14="http://schemas.microsoft.com/office/powerpoint/2010/main" val="2537307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21C0F1-D3B5-DC48-C51E-8A23D78EE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Sales page &amp; asset portfolio visualisations (3</a:t>
            </a:r>
            <a:r>
              <a:rPr lang="en-AU" baseline="30000" dirty="0"/>
              <a:t>rd</a:t>
            </a:r>
            <a:r>
              <a:rPr lang="en-AU" dirty="0"/>
              <a:t> Page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134BC7-0C5D-37CB-B237-56008EA329B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 dirty="0"/>
              <a:t>A page dedicated to sales visualisations </a:t>
            </a:r>
          </a:p>
          <a:p>
            <a:r>
              <a:rPr lang="en-AU" dirty="0"/>
              <a:t>Also containing asset portfolio representations</a:t>
            </a:r>
          </a:p>
          <a:p>
            <a:r>
              <a:rPr lang="en-AU" dirty="0"/>
              <a:t>Provide valuable insights to advisors / clients alike </a:t>
            </a:r>
          </a:p>
        </p:txBody>
      </p:sp>
    </p:spTree>
    <p:extLst>
      <p:ext uri="{BB962C8B-B14F-4D97-AF65-F5344CB8AC3E}">
        <p14:creationId xmlns:p14="http://schemas.microsoft.com/office/powerpoint/2010/main" val="1615920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D38523B-7650-28FB-4007-7741FE7C0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I Chatbot integration (4</a:t>
            </a:r>
            <a:r>
              <a:rPr lang="en-AU" baseline="30000" dirty="0"/>
              <a:t>th</a:t>
            </a:r>
            <a:r>
              <a:rPr lang="en-AU" dirty="0"/>
              <a:t> Page)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C4BF2F0-AD4D-C16A-BC43-0ADE161C7EB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AU" dirty="0"/>
              <a:t>AI has revolutionised technology and business, and will only further create more opportunities in the future</a:t>
            </a:r>
          </a:p>
          <a:p>
            <a:r>
              <a:rPr lang="en-AU" dirty="0"/>
              <a:t>Integrating a chatbot feature would greatly reduce the need for in person assistance, and have a tool that can explain and elaborate visualisations on the website</a:t>
            </a:r>
          </a:p>
          <a:p>
            <a:r>
              <a:rPr lang="en-AU" dirty="0"/>
              <a:t>Automating the process of creating visualisations based on simple prompt</a:t>
            </a:r>
          </a:p>
          <a:p>
            <a:endParaRPr lang="en-AU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E382172-38B8-6E5F-0E25-DDED8BADE578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AU" dirty="0"/>
              <a:t>24 hr assistance</a:t>
            </a:r>
          </a:p>
          <a:p>
            <a:r>
              <a:rPr lang="en-AU" dirty="0"/>
              <a:t>Scalable </a:t>
            </a:r>
          </a:p>
          <a:p>
            <a:r>
              <a:rPr lang="en-AU" dirty="0"/>
              <a:t>Cost reduction</a:t>
            </a:r>
          </a:p>
          <a:p>
            <a:r>
              <a:rPr lang="en-AU" dirty="0"/>
              <a:t>With many more </a:t>
            </a:r>
            <a:r>
              <a:rPr lang="en-AU"/>
              <a:t>other benefits</a:t>
            </a:r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79143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2E8EDE-55DF-1C1F-FFFE-7AA2E4719D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SX200 Forecasting with Markov Chai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D0DB72-0916-26C7-30A5-B396CB2CB02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AU" dirty="0"/>
              <a:t>Takes prior 60 days of data</a:t>
            </a:r>
          </a:p>
          <a:p>
            <a:r>
              <a:rPr lang="en-AU" dirty="0"/>
              <a:t>Calculates transition probabilities </a:t>
            </a:r>
          </a:p>
          <a:p>
            <a:r>
              <a:rPr lang="en-AU" dirty="0"/>
              <a:t>Uses that to predict future days based on an arbitrary +- 5 AUD amount</a:t>
            </a:r>
          </a:p>
          <a:p>
            <a:endParaRPr lang="en-AU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811D87-27B2-C7DE-33C2-B7FE8F2707D2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AU" dirty="0"/>
              <a:t>Results:</a:t>
            </a:r>
          </a:p>
          <a:p>
            <a:pPr marL="0" indent="0">
              <a:buNone/>
            </a:pPr>
            <a:endParaRPr lang="en-AU" dirty="0"/>
          </a:p>
        </p:txBody>
      </p:sp>
      <p:pic>
        <p:nvPicPr>
          <p:cNvPr id="5" name="Picture 4" descr="A graph showing a line&#10;&#10;Description automatically generated">
            <a:extLst>
              <a:ext uri="{FF2B5EF4-FFF2-40B4-BE49-F238E27FC236}">
                <a16:creationId xmlns:a16="http://schemas.microsoft.com/office/drawing/2014/main" id="{C9922765-C623-6033-9B05-C87FF1FD57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3778" y="2753734"/>
            <a:ext cx="6645910" cy="2098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144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8EB90-6AB1-5457-2164-B9948A3C9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2" y="608459"/>
            <a:ext cx="10747376" cy="535531"/>
          </a:xfrm>
        </p:spPr>
        <p:txBody>
          <a:bodyPr/>
          <a:lstStyle/>
          <a:p>
            <a:r>
              <a:rPr lang="en-AU" dirty="0"/>
              <a:t>Bitcoin Digital Currency Forecasting -&gt; ML Solu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8CA982-2DA9-7AE6-D59F-2EEB92147DC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AU" dirty="0"/>
              <a:t>Machine learning solutions are highly dependent on quality data</a:t>
            </a:r>
          </a:p>
          <a:p>
            <a:r>
              <a:rPr lang="en-AU" dirty="0"/>
              <a:t>When working with lots of data, and training different models -&gt; visualisations are a critical tool to gauging performance and effectiveness (without it very difficult to see progress or what is going on)</a:t>
            </a:r>
          </a:p>
          <a:p>
            <a:r>
              <a:rPr lang="en-AU" dirty="0"/>
              <a:t>Machine learning solutions can be applied to quantitative trading algorithms and require visualisations to monitor and improve effectiveness</a:t>
            </a:r>
          </a:p>
          <a:p>
            <a:r>
              <a:rPr lang="en-AU" dirty="0"/>
              <a:t>Separate fields – but combined renders a powerful tool 	</a:t>
            </a:r>
          </a:p>
          <a:p>
            <a:endParaRPr lang="en-AU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A2022CA-7674-B61F-14B6-54A2ACDD09BC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AU" dirty="0"/>
              <a:t>Proof of concept? </a:t>
            </a:r>
          </a:p>
          <a:p>
            <a:r>
              <a:rPr lang="en-AU" dirty="0"/>
              <a:t>Forecasting bitcoin value…</a:t>
            </a:r>
          </a:p>
          <a:p>
            <a:r>
              <a:rPr lang="en-AU" dirty="0"/>
              <a:t>Using historical prices…</a:t>
            </a:r>
          </a:p>
          <a:p>
            <a:r>
              <a:rPr lang="en-AU" dirty="0"/>
              <a:t>Using which machine learning model? </a:t>
            </a:r>
          </a:p>
          <a:p>
            <a:r>
              <a:rPr lang="en-AU" dirty="0"/>
              <a:t>-&gt; Long Short-Term Memory model</a:t>
            </a:r>
          </a:p>
          <a:p>
            <a:pPr marL="0" indent="0">
              <a:buNone/>
            </a:pP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265162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9D45E8-61A3-51BA-8613-7D6DD12B29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Why LSTM Model?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04E200-1BCE-AE98-F52D-48E1851F3B43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AU" dirty="0"/>
              <a:t>When creating a ML solution, selecting an appropriate model is important as some work better for different contexts:</a:t>
            </a:r>
          </a:p>
          <a:p>
            <a:r>
              <a:rPr lang="en-AU" dirty="0"/>
              <a:t>ie computer vision tasks like facial recognition or distinguishing dogs from cats -&gt; Convolutional Neural Networks:</a:t>
            </a:r>
          </a:p>
          <a:p>
            <a:pPr marL="0" indent="0">
              <a:buNone/>
            </a:pPr>
            <a:endParaRPr lang="en-AU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39A53D6-A66E-FB93-2359-2FBB1380FA57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AU" dirty="0"/>
              <a:t>Tasks that involve text:</a:t>
            </a:r>
          </a:p>
          <a:p>
            <a:r>
              <a:rPr lang="en-AU" dirty="0"/>
              <a:t>-&gt; Transformer models -&gt; BERT</a:t>
            </a:r>
          </a:p>
          <a:p>
            <a:r>
              <a:rPr lang="en-AU" dirty="0"/>
              <a:t>Bidirectional Encoder Representations from Transformers</a:t>
            </a:r>
          </a:p>
          <a:p>
            <a:r>
              <a:rPr lang="en-AU" dirty="0"/>
              <a:t> (Halisok’s PDF classification uses this)</a:t>
            </a:r>
          </a:p>
          <a:p>
            <a:r>
              <a:rPr lang="en-AU" dirty="0"/>
              <a:t>And other tasks that involve text data… like natural language processing etc</a:t>
            </a:r>
          </a:p>
          <a:p>
            <a:endParaRPr lang="en-AU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2D8EF1-0BA2-5C66-2063-55197F4A26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6471" y="3429000"/>
            <a:ext cx="5649529" cy="1908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045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D7FEA8-8F8D-8AFE-4D5B-FDA25084DB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What to use for BTC forecasting?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3B2054-5219-ACAB-5F6B-5732D2C38BD2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AU" dirty="0"/>
              <a:t>When deciding on a model to use, LSTM model -&gt; type of recurrent neural network, best suited for sequential data analysis.</a:t>
            </a:r>
          </a:p>
          <a:p>
            <a:r>
              <a:rPr lang="en-AU" dirty="0"/>
              <a:t>ie -&gt; time series data where chunks of data are dispersed over periods of time.</a:t>
            </a:r>
          </a:p>
          <a:p>
            <a:r>
              <a:rPr lang="en-AU" dirty="0"/>
              <a:t>Capture long-term dependencies from sequential data…</a:t>
            </a:r>
          </a:p>
          <a:p>
            <a:r>
              <a:rPr lang="en-AU" dirty="0"/>
              <a:t>Hence, a good model for predicting pric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485E99-2F13-A25D-E49F-58A386B7186E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AU" dirty="0"/>
              <a:t>Yahoo Finance</a:t>
            </a:r>
          </a:p>
          <a:p>
            <a:r>
              <a:rPr lang="en-AU" dirty="0"/>
              <a:t>Trained LSTM model with dates from 2014 to 2016 </a:t>
            </a:r>
          </a:p>
          <a:p>
            <a:r>
              <a:rPr lang="en-AU" dirty="0"/>
              <a:t>Feeding 3-day chunks of data</a:t>
            </a:r>
          </a:p>
          <a:p>
            <a:r>
              <a:rPr lang="en-AU" dirty="0"/>
              <a:t>Then having a validation period 80 – 90% of the time frame</a:t>
            </a:r>
          </a:p>
          <a:p>
            <a:r>
              <a:rPr lang="en-AU" dirty="0"/>
              <a:t>Then test run from 90 – 100% of the time frame</a:t>
            </a:r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18868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7BFD32-7E14-A181-FB8E-F20C94AFD7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BTC Prediction Resul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3C06B62-C89F-0F6D-883C-E0588CE9F1A4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AU" dirty="0"/>
              <a:t>Reasonable results</a:t>
            </a:r>
          </a:p>
          <a:p>
            <a:r>
              <a:rPr lang="en-AU" dirty="0"/>
              <a:t>Crypto typically quite volatile</a:t>
            </a:r>
          </a:p>
          <a:p>
            <a:r>
              <a:rPr lang="en-AU" dirty="0"/>
              <a:t>Visualisation allows for performance auditing</a:t>
            </a:r>
          </a:p>
        </p:txBody>
      </p:sp>
      <p:pic>
        <p:nvPicPr>
          <p:cNvPr id="5" name="Picture 4" descr="A graph with numbers and lines&#10;&#10;Description automatically generated with medium confidence">
            <a:extLst>
              <a:ext uri="{FF2B5EF4-FFF2-40B4-BE49-F238E27FC236}">
                <a16:creationId xmlns:a16="http://schemas.microsoft.com/office/drawing/2014/main" id="{B5225FDB-E95F-CD94-1C1B-1EA91A5697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459" y="1589607"/>
            <a:ext cx="5293591" cy="3678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207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8E9F50-4CD7-D5D2-F3B1-42B9DA6AEA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Demo Tim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1FE158-0DA9-0486-0F03-AFD62FE6C5E1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AU" dirty="0"/>
              <a:t>Live demonstration </a:t>
            </a:r>
          </a:p>
        </p:txBody>
      </p:sp>
    </p:spTree>
    <p:extLst>
      <p:ext uri="{BB962C8B-B14F-4D97-AF65-F5344CB8AC3E}">
        <p14:creationId xmlns:p14="http://schemas.microsoft.com/office/powerpoint/2010/main" val="2124215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7662CF-4D65-780F-2158-02C29F07BB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  <a:endParaRPr lang="en-AU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9E01022A-11F3-9DF3-5D06-A81C66E91070}"/>
              </a:ext>
            </a:extLst>
          </p:cNvPr>
          <p:cNvSpPr txBox="1">
            <a:spLocks/>
          </p:cNvSpPr>
          <p:nvPr/>
        </p:nvSpPr>
        <p:spPr>
          <a:xfrm>
            <a:off x="722313" y="2317072"/>
            <a:ext cx="6255536" cy="309830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AU" dirty="0"/>
              <a:t>Project Overview			#</a:t>
            </a:r>
          </a:p>
          <a:p>
            <a:pPr marL="457200" indent="-457200"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AU" dirty="0"/>
              <a:t>Desired Outcomes			#</a:t>
            </a:r>
          </a:p>
          <a:p>
            <a:pPr marL="457200" indent="-457200"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AU" dirty="0"/>
              <a:t>Solution Process			#</a:t>
            </a:r>
          </a:p>
          <a:p>
            <a:pPr marL="457200" indent="-457200"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AU" dirty="0"/>
              <a:t>Demo				#</a:t>
            </a:r>
          </a:p>
          <a:p>
            <a:pPr marL="457200" indent="-457200"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AU" dirty="0"/>
              <a:t>Final Thoughts			#</a:t>
            </a:r>
          </a:p>
        </p:txBody>
      </p:sp>
    </p:spTree>
    <p:extLst>
      <p:ext uri="{BB962C8B-B14F-4D97-AF65-F5344CB8AC3E}">
        <p14:creationId xmlns:p14="http://schemas.microsoft.com/office/powerpoint/2010/main" val="929403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F2CC453-0F25-D39E-ADB7-23766690CD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Future Improvement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E02CF52-02C2-E020-FF49-21D4157E9E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AU" dirty="0"/>
              <a:t>Future Actions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97398A4-5731-9776-E692-5D8E84D3C79E}"/>
              </a:ext>
            </a:extLst>
          </p:cNvPr>
          <p:cNvSpPr>
            <a:spLocks noGrp="1"/>
          </p:cNvSpPr>
          <p:nvPr>
            <p:ph sz="half" idx="10"/>
          </p:nvPr>
        </p:nvSpPr>
        <p:spPr/>
        <p:txBody>
          <a:bodyPr/>
          <a:lstStyle/>
          <a:p>
            <a:r>
              <a:rPr lang="en-AU" dirty="0"/>
              <a:t>Completing all functionality </a:t>
            </a:r>
          </a:p>
          <a:p>
            <a:r>
              <a:rPr lang="en-AU" dirty="0"/>
              <a:t>Continual upgrades in quality of outputs</a:t>
            </a:r>
          </a:p>
          <a:p>
            <a:r>
              <a:rPr lang="en-AU" dirty="0"/>
              <a:t>The way data is managed can be transitioned into more advanced data base system, like MongoDB, PostgreSQL and Neo4j.</a:t>
            </a:r>
          </a:p>
          <a:p>
            <a:r>
              <a:rPr lang="en-AU" dirty="0"/>
              <a:t>(heavier storage abilities and thus more advanced applications)</a:t>
            </a:r>
          </a:p>
          <a:p>
            <a:endParaRPr lang="en-AU" dirty="0"/>
          </a:p>
          <a:p>
            <a:endParaRPr lang="en-AU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5C21291-C7E1-19D0-9D4C-2065E19C3A0F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AU" dirty="0"/>
              <a:t>Partner with qualified vendor</a:t>
            </a:r>
          </a:p>
          <a:p>
            <a:r>
              <a:rPr lang="en-AU" dirty="0"/>
              <a:t>Give details of what is needed (data cleansing etc)</a:t>
            </a:r>
          </a:p>
          <a:p>
            <a:r>
              <a:rPr lang="en-AU" dirty="0"/>
              <a:t>Outsource heavy loading</a:t>
            </a:r>
          </a:p>
          <a:p>
            <a:r>
              <a:rPr lang="en-AU" dirty="0"/>
              <a:t>Invest in machine learning solutions (like we currently do with Halisok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2DEA048-33BD-1DBF-B76C-90749CC696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Final Thoughts</a:t>
            </a:r>
          </a:p>
        </p:txBody>
      </p:sp>
    </p:spTree>
    <p:extLst>
      <p:ext uri="{BB962C8B-B14F-4D97-AF65-F5344CB8AC3E}">
        <p14:creationId xmlns:p14="http://schemas.microsoft.com/office/powerpoint/2010/main" val="4179877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8EE6759-4FCA-205A-1BAD-7A8745B133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2312" y="1475105"/>
            <a:ext cx="5157787" cy="424732"/>
          </a:xfrm>
        </p:spPr>
        <p:txBody>
          <a:bodyPr/>
          <a:lstStyle/>
          <a:p>
            <a:r>
              <a:rPr lang="en-AU" dirty="0"/>
              <a:t>Experien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99C523-0BD2-C1DB-6BC0-AE0773200FA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AU" dirty="0"/>
              <a:t>Work Environmen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67D2ECE-1CA0-2DC1-DE1A-66B7E9D0EE0F}"/>
              </a:ext>
            </a:extLst>
          </p:cNvPr>
          <p:cNvSpPr>
            <a:spLocks noGrp="1"/>
          </p:cNvSpPr>
          <p:nvPr>
            <p:ph sz="half" idx="10"/>
          </p:nvPr>
        </p:nvSpPr>
        <p:spPr/>
        <p:txBody>
          <a:bodyPr/>
          <a:lstStyle/>
          <a:p>
            <a:r>
              <a:rPr lang="en-AU" dirty="0"/>
              <a:t>Collaboration with Gov and Josh, being able to share ideas and give feedback</a:t>
            </a:r>
          </a:p>
          <a:p>
            <a:r>
              <a:rPr lang="en-AU" dirty="0"/>
              <a:t>Client focus, being able to see the full-time horizon of this project, gave more specifics on how can we make this best for the end users</a:t>
            </a:r>
          </a:p>
          <a:p>
            <a:r>
              <a:rPr lang="en-AU" dirty="0"/>
              <a:t>Integrity – following the projects outlines and keeping it consistent with what was aimed for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C5F7F3-94A4-0CED-D526-FA8250C977D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AU" dirty="0"/>
              <a:t>Great work environment, good for learning and working with others</a:t>
            </a:r>
          </a:p>
          <a:p>
            <a:r>
              <a:rPr lang="en-AU" dirty="0"/>
              <a:t>Expanding on skills developed and exploring new fields like data analytics + visualisation and doing it in python</a:t>
            </a:r>
          </a:p>
          <a:p>
            <a:endParaRPr lang="en-AU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3F2BBD4-F987-F926-ECC8-378AD49B75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ersonal Takeaways</a:t>
            </a:r>
          </a:p>
        </p:txBody>
      </p:sp>
    </p:spTree>
    <p:extLst>
      <p:ext uri="{BB962C8B-B14F-4D97-AF65-F5344CB8AC3E}">
        <p14:creationId xmlns:p14="http://schemas.microsoft.com/office/powerpoint/2010/main" val="2185362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A6A748E-6F87-FFBB-AC56-427741C34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2" y="2526939"/>
            <a:ext cx="10747376" cy="923330"/>
          </a:xfrm>
        </p:spPr>
        <p:txBody>
          <a:bodyPr/>
          <a:lstStyle/>
          <a:p>
            <a:r>
              <a:rPr lang="en-AU" sz="6000" b="1" dirty="0"/>
              <a:t>Thank you!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9BBB7C-A2D1-6220-1F22-8B4999B4881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2312" y="3766519"/>
            <a:ext cx="5181600" cy="1830717"/>
          </a:xfrm>
        </p:spPr>
        <p:txBody>
          <a:bodyPr/>
          <a:lstStyle/>
          <a:p>
            <a:r>
              <a:rPr lang="en-AU" dirty="0"/>
              <a:t>This is the end of the presentation.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33E66E4-DD88-0991-B723-4886FA6F413E}"/>
              </a:ext>
            </a:extLst>
          </p:cNvPr>
          <p:cNvCxnSpPr>
            <a:cxnSpLocks/>
          </p:cNvCxnSpPr>
          <p:nvPr/>
        </p:nvCxnSpPr>
        <p:spPr>
          <a:xfrm>
            <a:off x="810657" y="3455570"/>
            <a:ext cx="500558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3408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813CB0E-32C8-FC88-142B-1168F47C0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0255" y="3078134"/>
            <a:ext cx="4688319" cy="701731"/>
          </a:xfrm>
        </p:spPr>
        <p:txBody>
          <a:bodyPr/>
          <a:lstStyle/>
          <a:p>
            <a:r>
              <a:rPr lang="en-AU" dirty="0"/>
              <a:t>Project Overview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66777E7-2DCD-E366-0C14-DECFE45321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Context, purpose and outline of the data visualisation project</a:t>
            </a:r>
            <a:endParaRPr lang="en-AU" dirty="0">
              <a:solidFill>
                <a:schemeClr val="accent3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693CB19-EE0E-C59C-1825-58A8CF19B2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99127" y="1105007"/>
            <a:ext cx="1004000" cy="1004000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130E740-7550-13AD-2E90-7679F524EE53}"/>
              </a:ext>
            </a:extLst>
          </p:cNvPr>
          <p:cNvCxnSpPr>
            <a:cxnSpLocks/>
          </p:cNvCxnSpPr>
          <p:nvPr/>
        </p:nvCxnSpPr>
        <p:spPr>
          <a:xfrm>
            <a:off x="6883654" y="3857711"/>
            <a:ext cx="585807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135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9D35C-8E7B-A2A8-E11C-62978AB5F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roject Outlin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10387FE-1808-BE46-C597-72DCC6437233}"/>
              </a:ext>
            </a:extLst>
          </p:cNvPr>
          <p:cNvSpPr/>
          <p:nvPr/>
        </p:nvSpPr>
        <p:spPr>
          <a:xfrm>
            <a:off x="6336145" y="1728608"/>
            <a:ext cx="5133543" cy="3833026"/>
          </a:xfrm>
          <a:prstGeom prst="roundRect">
            <a:avLst>
              <a:gd name="adj" fmla="val 3427"/>
            </a:avLst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F5A4B020-3367-7070-E8BE-76C6AA123DD1}"/>
              </a:ext>
            </a:extLst>
          </p:cNvPr>
          <p:cNvSpPr/>
          <p:nvPr/>
        </p:nvSpPr>
        <p:spPr>
          <a:xfrm>
            <a:off x="703839" y="1728608"/>
            <a:ext cx="5133543" cy="3833026"/>
          </a:xfrm>
          <a:prstGeom prst="roundRect">
            <a:avLst>
              <a:gd name="adj" fmla="val 3427"/>
            </a:avLst>
          </a:prstGeom>
          <a:noFill/>
          <a:ln w="28575">
            <a:solidFill>
              <a:srgbClr val="0099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D7DBFB7-FC8B-76B0-AF67-EDBB4E2CB37D}"/>
              </a:ext>
            </a:extLst>
          </p:cNvPr>
          <p:cNvGrpSpPr/>
          <p:nvPr/>
        </p:nvGrpSpPr>
        <p:grpSpPr>
          <a:xfrm>
            <a:off x="914777" y="2653145"/>
            <a:ext cx="257783" cy="257783"/>
            <a:chOff x="1402939" y="5065431"/>
            <a:chExt cx="340136" cy="340136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19444C2C-576F-2A9D-FC56-1A59CDD23374}"/>
                </a:ext>
              </a:extLst>
            </p:cNvPr>
            <p:cNvSpPr/>
            <p:nvPr/>
          </p:nvSpPr>
          <p:spPr>
            <a:xfrm>
              <a:off x="1402939" y="5065431"/>
              <a:ext cx="340136" cy="34013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0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Graphic 8">
              <a:extLst>
                <a:ext uri="{FF2B5EF4-FFF2-40B4-BE49-F238E27FC236}">
                  <a16:creationId xmlns:a16="http://schemas.microsoft.com/office/drawing/2014/main" id="{1ACA5D6E-807B-827A-7648-4567FC124E9D}"/>
                </a:ext>
              </a:extLst>
            </p:cNvPr>
            <p:cNvSpPr/>
            <p:nvPr/>
          </p:nvSpPr>
          <p:spPr>
            <a:xfrm>
              <a:off x="1475321" y="5133395"/>
              <a:ext cx="195370" cy="204212"/>
            </a:xfrm>
            <a:custGeom>
              <a:avLst/>
              <a:gdLst>
                <a:gd name="connsiteX0" fmla="*/ 3654933 w 3729800"/>
                <a:gd name="connsiteY0" fmla="*/ 1767268 h 3898677"/>
                <a:gd name="connsiteX1" fmla="*/ 1962531 w 3729800"/>
                <a:gd name="connsiteY1" fmla="*/ 74867 h 3898677"/>
                <a:gd name="connsiteX2" fmla="*/ 1781175 w 3729800"/>
                <a:gd name="connsiteY2" fmla="*/ 0 h 3898677"/>
                <a:gd name="connsiteX3" fmla="*/ 1599819 w 3729800"/>
                <a:gd name="connsiteY3" fmla="*/ 74867 h 3898677"/>
                <a:gd name="connsiteX4" fmla="*/ 1446181 w 3729800"/>
                <a:gd name="connsiteY4" fmla="*/ 228600 h 3898677"/>
                <a:gd name="connsiteX5" fmla="*/ 1371314 w 3729800"/>
                <a:gd name="connsiteY5" fmla="*/ 409956 h 3898677"/>
                <a:gd name="connsiteX6" fmla="*/ 1446181 w 3729800"/>
                <a:gd name="connsiteY6" fmla="*/ 593408 h 3898677"/>
                <a:gd name="connsiteX7" fmla="*/ 2433542 w 3729800"/>
                <a:gd name="connsiteY7" fmla="*/ 1582864 h 3898677"/>
                <a:gd name="connsiteX8" fmla="*/ 253175 w 3729800"/>
                <a:gd name="connsiteY8" fmla="*/ 1582864 h 3898677"/>
                <a:gd name="connsiteX9" fmla="*/ 0 w 3729800"/>
                <a:gd name="connsiteY9" fmla="*/ 1835087 h 3898677"/>
                <a:gd name="connsiteX10" fmla="*/ 0 w 3729800"/>
                <a:gd name="connsiteY10" fmla="*/ 2052352 h 3898677"/>
                <a:gd name="connsiteX11" fmla="*/ 253175 w 3729800"/>
                <a:gd name="connsiteY11" fmla="*/ 2315718 h 3898677"/>
                <a:gd name="connsiteX12" fmla="*/ 2444687 w 3729800"/>
                <a:gd name="connsiteY12" fmla="*/ 2315718 h 3898677"/>
                <a:gd name="connsiteX13" fmla="*/ 1446181 w 3729800"/>
                <a:gd name="connsiteY13" fmla="*/ 3310699 h 3898677"/>
                <a:gd name="connsiteX14" fmla="*/ 1371314 w 3729800"/>
                <a:gd name="connsiteY14" fmla="*/ 3490341 h 3898677"/>
                <a:gd name="connsiteX15" fmla="*/ 1446181 w 3729800"/>
                <a:gd name="connsiteY15" fmla="*/ 3670840 h 3898677"/>
                <a:gd name="connsiteX16" fmla="*/ 1599819 w 3729800"/>
                <a:gd name="connsiteY16" fmla="*/ 3824002 h 3898677"/>
                <a:gd name="connsiteX17" fmla="*/ 1781175 w 3729800"/>
                <a:gd name="connsiteY17" fmla="*/ 3898678 h 3898677"/>
                <a:gd name="connsiteX18" fmla="*/ 1962531 w 3729800"/>
                <a:gd name="connsiteY18" fmla="*/ 3823716 h 3898677"/>
                <a:gd name="connsiteX19" fmla="*/ 3654933 w 3729800"/>
                <a:gd name="connsiteY19" fmla="*/ 2131314 h 3898677"/>
                <a:gd name="connsiteX20" fmla="*/ 3729799 w 3729800"/>
                <a:gd name="connsiteY20" fmla="*/ 1949387 h 3898677"/>
                <a:gd name="connsiteX21" fmla="*/ 3654933 w 3729800"/>
                <a:gd name="connsiteY21" fmla="*/ 1767268 h 389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729800" h="3898677">
                  <a:moveTo>
                    <a:pt x="3654933" y="1767268"/>
                  </a:moveTo>
                  <a:lnTo>
                    <a:pt x="1962531" y="74867"/>
                  </a:lnTo>
                  <a:cubicBezTo>
                    <a:pt x="1914239" y="26575"/>
                    <a:pt x="1849850" y="0"/>
                    <a:pt x="1781175" y="0"/>
                  </a:cubicBezTo>
                  <a:cubicBezTo>
                    <a:pt x="1712500" y="0"/>
                    <a:pt x="1648111" y="26575"/>
                    <a:pt x="1599819" y="74867"/>
                  </a:cubicBezTo>
                  <a:lnTo>
                    <a:pt x="1446181" y="228600"/>
                  </a:lnTo>
                  <a:cubicBezTo>
                    <a:pt x="1397889" y="276797"/>
                    <a:pt x="1371314" y="341281"/>
                    <a:pt x="1371314" y="409956"/>
                  </a:cubicBezTo>
                  <a:cubicBezTo>
                    <a:pt x="1371314" y="478631"/>
                    <a:pt x="1397889" y="545211"/>
                    <a:pt x="1446181" y="593408"/>
                  </a:cubicBezTo>
                  <a:lnTo>
                    <a:pt x="2433542" y="1582864"/>
                  </a:lnTo>
                  <a:lnTo>
                    <a:pt x="253175" y="1582864"/>
                  </a:lnTo>
                  <a:cubicBezTo>
                    <a:pt x="111728" y="1582864"/>
                    <a:pt x="0" y="1693545"/>
                    <a:pt x="0" y="1835087"/>
                  </a:cubicBezTo>
                  <a:lnTo>
                    <a:pt x="0" y="2052352"/>
                  </a:lnTo>
                  <a:cubicBezTo>
                    <a:pt x="0" y="2193798"/>
                    <a:pt x="111728" y="2315718"/>
                    <a:pt x="253175" y="2315718"/>
                  </a:cubicBezTo>
                  <a:lnTo>
                    <a:pt x="2444687" y="2315718"/>
                  </a:lnTo>
                  <a:lnTo>
                    <a:pt x="1446181" y="3310699"/>
                  </a:lnTo>
                  <a:cubicBezTo>
                    <a:pt x="1397889" y="3358991"/>
                    <a:pt x="1371314" y="3421666"/>
                    <a:pt x="1371314" y="3490341"/>
                  </a:cubicBezTo>
                  <a:cubicBezTo>
                    <a:pt x="1371314" y="3559016"/>
                    <a:pt x="1397889" y="3622548"/>
                    <a:pt x="1446181" y="3670840"/>
                  </a:cubicBezTo>
                  <a:lnTo>
                    <a:pt x="1599819" y="3824002"/>
                  </a:lnTo>
                  <a:cubicBezTo>
                    <a:pt x="1648111" y="3872294"/>
                    <a:pt x="1712500" y="3898678"/>
                    <a:pt x="1781175" y="3898678"/>
                  </a:cubicBezTo>
                  <a:cubicBezTo>
                    <a:pt x="1849850" y="3898678"/>
                    <a:pt x="1914239" y="3872008"/>
                    <a:pt x="1962531" y="3823716"/>
                  </a:cubicBezTo>
                  <a:lnTo>
                    <a:pt x="3654933" y="2131314"/>
                  </a:lnTo>
                  <a:cubicBezTo>
                    <a:pt x="3703320" y="2082832"/>
                    <a:pt x="3729990" y="2018157"/>
                    <a:pt x="3729799" y="1949387"/>
                  </a:cubicBezTo>
                  <a:cubicBezTo>
                    <a:pt x="3729990" y="1880426"/>
                    <a:pt x="3703320" y="1815656"/>
                    <a:pt x="3654933" y="1767268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07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8" name="Text Placeholder 28">
            <a:extLst>
              <a:ext uri="{FF2B5EF4-FFF2-40B4-BE49-F238E27FC236}">
                <a16:creationId xmlns:a16="http://schemas.microsoft.com/office/drawing/2014/main" id="{ABD82E6C-D9AF-72DD-28E5-1CB57547A7DD}"/>
              </a:ext>
            </a:extLst>
          </p:cNvPr>
          <p:cNvSpPr txBox="1">
            <a:spLocks/>
          </p:cNvSpPr>
          <p:nvPr/>
        </p:nvSpPr>
        <p:spPr>
          <a:xfrm>
            <a:off x="1235716" y="2606964"/>
            <a:ext cx="4288404" cy="4979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400" dirty="0">
                <a:solidFill>
                  <a:schemeClr val="tx2">
                    <a:lumMod val="50000"/>
                  </a:schemeClr>
                </a:solidFill>
              </a:rPr>
              <a:t>Creating visualisation tool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241CB8C-64ED-41A7-BF24-B300FF0DD4C5}"/>
              </a:ext>
            </a:extLst>
          </p:cNvPr>
          <p:cNvGrpSpPr/>
          <p:nvPr/>
        </p:nvGrpSpPr>
        <p:grpSpPr>
          <a:xfrm>
            <a:off x="914777" y="3429000"/>
            <a:ext cx="257783" cy="257783"/>
            <a:chOff x="1402939" y="5065431"/>
            <a:chExt cx="340136" cy="340136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4A096010-72AB-F326-89A1-374C0B372A78}"/>
                </a:ext>
              </a:extLst>
            </p:cNvPr>
            <p:cNvSpPr/>
            <p:nvPr/>
          </p:nvSpPr>
          <p:spPr>
            <a:xfrm>
              <a:off x="1402939" y="5065431"/>
              <a:ext cx="340136" cy="34013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0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" name="Graphic 8">
              <a:extLst>
                <a:ext uri="{FF2B5EF4-FFF2-40B4-BE49-F238E27FC236}">
                  <a16:creationId xmlns:a16="http://schemas.microsoft.com/office/drawing/2014/main" id="{4A4D790C-E1C0-F562-5C12-11C85123D2DB}"/>
                </a:ext>
              </a:extLst>
            </p:cNvPr>
            <p:cNvSpPr/>
            <p:nvPr/>
          </p:nvSpPr>
          <p:spPr>
            <a:xfrm>
              <a:off x="1475321" y="5133395"/>
              <a:ext cx="195370" cy="204212"/>
            </a:xfrm>
            <a:custGeom>
              <a:avLst/>
              <a:gdLst>
                <a:gd name="connsiteX0" fmla="*/ 3654933 w 3729800"/>
                <a:gd name="connsiteY0" fmla="*/ 1767268 h 3898677"/>
                <a:gd name="connsiteX1" fmla="*/ 1962531 w 3729800"/>
                <a:gd name="connsiteY1" fmla="*/ 74867 h 3898677"/>
                <a:gd name="connsiteX2" fmla="*/ 1781175 w 3729800"/>
                <a:gd name="connsiteY2" fmla="*/ 0 h 3898677"/>
                <a:gd name="connsiteX3" fmla="*/ 1599819 w 3729800"/>
                <a:gd name="connsiteY3" fmla="*/ 74867 h 3898677"/>
                <a:gd name="connsiteX4" fmla="*/ 1446181 w 3729800"/>
                <a:gd name="connsiteY4" fmla="*/ 228600 h 3898677"/>
                <a:gd name="connsiteX5" fmla="*/ 1371314 w 3729800"/>
                <a:gd name="connsiteY5" fmla="*/ 409956 h 3898677"/>
                <a:gd name="connsiteX6" fmla="*/ 1446181 w 3729800"/>
                <a:gd name="connsiteY6" fmla="*/ 593408 h 3898677"/>
                <a:gd name="connsiteX7" fmla="*/ 2433542 w 3729800"/>
                <a:gd name="connsiteY7" fmla="*/ 1582864 h 3898677"/>
                <a:gd name="connsiteX8" fmla="*/ 253175 w 3729800"/>
                <a:gd name="connsiteY8" fmla="*/ 1582864 h 3898677"/>
                <a:gd name="connsiteX9" fmla="*/ 0 w 3729800"/>
                <a:gd name="connsiteY9" fmla="*/ 1835087 h 3898677"/>
                <a:gd name="connsiteX10" fmla="*/ 0 w 3729800"/>
                <a:gd name="connsiteY10" fmla="*/ 2052352 h 3898677"/>
                <a:gd name="connsiteX11" fmla="*/ 253175 w 3729800"/>
                <a:gd name="connsiteY11" fmla="*/ 2315718 h 3898677"/>
                <a:gd name="connsiteX12" fmla="*/ 2444687 w 3729800"/>
                <a:gd name="connsiteY12" fmla="*/ 2315718 h 3898677"/>
                <a:gd name="connsiteX13" fmla="*/ 1446181 w 3729800"/>
                <a:gd name="connsiteY13" fmla="*/ 3310699 h 3898677"/>
                <a:gd name="connsiteX14" fmla="*/ 1371314 w 3729800"/>
                <a:gd name="connsiteY14" fmla="*/ 3490341 h 3898677"/>
                <a:gd name="connsiteX15" fmla="*/ 1446181 w 3729800"/>
                <a:gd name="connsiteY15" fmla="*/ 3670840 h 3898677"/>
                <a:gd name="connsiteX16" fmla="*/ 1599819 w 3729800"/>
                <a:gd name="connsiteY16" fmla="*/ 3824002 h 3898677"/>
                <a:gd name="connsiteX17" fmla="*/ 1781175 w 3729800"/>
                <a:gd name="connsiteY17" fmla="*/ 3898678 h 3898677"/>
                <a:gd name="connsiteX18" fmla="*/ 1962531 w 3729800"/>
                <a:gd name="connsiteY18" fmla="*/ 3823716 h 3898677"/>
                <a:gd name="connsiteX19" fmla="*/ 3654933 w 3729800"/>
                <a:gd name="connsiteY19" fmla="*/ 2131314 h 3898677"/>
                <a:gd name="connsiteX20" fmla="*/ 3729799 w 3729800"/>
                <a:gd name="connsiteY20" fmla="*/ 1949387 h 3898677"/>
                <a:gd name="connsiteX21" fmla="*/ 3654933 w 3729800"/>
                <a:gd name="connsiteY21" fmla="*/ 1767268 h 389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729800" h="3898677">
                  <a:moveTo>
                    <a:pt x="3654933" y="1767268"/>
                  </a:moveTo>
                  <a:lnTo>
                    <a:pt x="1962531" y="74867"/>
                  </a:lnTo>
                  <a:cubicBezTo>
                    <a:pt x="1914239" y="26575"/>
                    <a:pt x="1849850" y="0"/>
                    <a:pt x="1781175" y="0"/>
                  </a:cubicBezTo>
                  <a:cubicBezTo>
                    <a:pt x="1712500" y="0"/>
                    <a:pt x="1648111" y="26575"/>
                    <a:pt x="1599819" y="74867"/>
                  </a:cubicBezTo>
                  <a:lnTo>
                    <a:pt x="1446181" y="228600"/>
                  </a:lnTo>
                  <a:cubicBezTo>
                    <a:pt x="1397889" y="276797"/>
                    <a:pt x="1371314" y="341281"/>
                    <a:pt x="1371314" y="409956"/>
                  </a:cubicBezTo>
                  <a:cubicBezTo>
                    <a:pt x="1371314" y="478631"/>
                    <a:pt x="1397889" y="545211"/>
                    <a:pt x="1446181" y="593408"/>
                  </a:cubicBezTo>
                  <a:lnTo>
                    <a:pt x="2433542" y="1582864"/>
                  </a:lnTo>
                  <a:lnTo>
                    <a:pt x="253175" y="1582864"/>
                  </a:lnTo>
                  <a:cubicBezTo>
                    <a:pt x="111728" y="1582864"/>
                    <a:pt x="0" y="1693545"/>
                    <a:pt x="0" y="1835087"/>
                  </a:cubicBezTo>
                  <a:lnTo>
                    <a:pt x="0" y="2052352"/>
                  </a:lnTo>
                  <a:cubicBezTo>
                    <a:pt x="0" y="2193798"/>
                    <a:pt x="111728" y="2315718"/>
                    <a:pt x="253175" y="2315718"/>
                  </a:cubicBezTo>
                  <a:lnTo>
                    <a:pt x="2444687" y="2315718"/>
                  </a:lnTo>
                  <a:lnTo>
                    <a:pt x="1446181" y="3310699"/>
                  </a:lnTo>
                  <a:cubicBezTo>
                    <a:pt x="1397889" y="3358991"/>
                    <a:pt x="1371314" y="3421666"/>
                    <a:pt x="1371314" y="3490341"/>
                  </a:cubicBezTo>
                  <a:cubicBezTo>
                    <a:pt x="1371314" y="3559016"/>
                    <a:pt x="1397889" y="3622548"/>
                    <a:pt x="1446181" y="3670840"/>
                  </a:cubicBezTo>
                  <a:lnTo>
                    <a:pt x="1599819" y="3824002"/>
                  </a:lnTo>
                  <a:cubicBezTo>
                    <a:pt x="1648111" y="3872294"/>
                    <a:pt x="1712500" y="3898678"/>
                    <a:pt x="1781175" y="3898678"/>
                  </a:cubicBezTo>
                  <a:cubicBezTo>
                    <a:pt x="1849850" y="3898678"/>
                    <a:pt x="1914239" y="3872008"/>
                    <a:pt x="1962531" y="3823716"/>
                  </a:cubicBezTo>
                  <a:lnTo>
                    <a:pt x="3654933" y="2131314"/>
                  </a:lnTo>
                  <a:cubicBezTo>
                    <a:pt x="3703320" y="2082832"/>
                    <a:pt x="3729990" y="2018157"/>
                    <a:pt x="3729799" y="1949387"/>
                  </a:cubicBezTo>
                  <a:cubicBezTo>
                    <a:pt x="3729990" y="1880426"/>
                    <a:pt x="3703320" y="1815656"/>
                    <a:pt x="3654933" y="1767268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07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6" name="Text Placeholder 28">
            <a:extLst>
              <a:ext uri="{FF2B5EF4-FFF2-40B4-BE49-F238E27FC236}">
                <a16:creationId xmlns:a16="http://schemas.microsoft.com/office/drawing/2014/main" id="{75B24E40-AB5A-7844-84AE-45FF1F9A5B32}"/>
              </a:ext>
            </a:extLst>
          </p:cNvPr>
          <p:cNvSpPr txBox="1">
            <a:spLocks/>
          </p:cNvSpPr>
          <p:nvPr/>
        </p:nvSpPr>
        <p:spPr>
          <a:xfrm>
            <a:off x="1235716" y="3382819"/>
            <a:ext cx="4288404" cy="4979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400" dirty="0">
                <a:solidFill>
                  <a:schemeClr val="tx2">
                    <a:lumMod val="50000"/>
                  </a:schemeClr>
                </a:solidFill>
              </a:rPr>
              <a:t>“Funky” visualisations for diverse ways to see data	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1365A56-9F97-2107-F1B8-8FDF35D09CFD}"/>
              </a:ext>
            </a:extLst>
          </p:cNvPr>
          <p:cNvGrpSpPr/>
          <p:nvPr/>
        </p:nvGrpSpPr>
        <p:grpSpPr>
          <a:xfrm>
            <a:off x="914777" y="4195618"/>
            <a:ext cx="257783" cy="257783"/>
            <a:chOff x="1402939" y="5065431"/>
            <a:chExt cx="340136" cy="340136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01FE7B23-5057-EE92-C2D3-71BF8A3CADDE}"/>
                </a:ext>
              </a:extLst>
            </p:cNvPr>
            <p:cNvSpPr/>
            <p:nvPr/>
          </p:nvSpPr>
          <p:spPr>
            <a:xfrm>
              <a:off x="1402939" y="5065431"/>
              <a:ext cx="340136" cy="34013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0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Graphic 8">
              <a:extLst>
                <a:ext uri="{FF2B5EF4-FFF2-40B4-BE49-F238E27FC236}">
                  <a16:creationId xmlns:a16="http://schemas.microsoft.com/office/drawing/2014/main" id="{98B1BB44-4E09-529A-90FF-D0AE30A3413A}"/>
                </a:ext>
              </a:extLst>
            </p:cNvPr>
            <p:cNvSpPr/>
            <p:nvPr/>
          </p:nvSpPr>
          <p:spPr>
            <a:xfrm>
              <a:off x="1475321" y="5133395"/>
              <a:ext cx="195370" cy="204212"/>
            </a:xfrm>
            <a:custGeom>
              <a:avLst/>
              <a:gdLst>
                <a:gd name="connsiteX0" fmla="*/ 3654933 w 3729800"/>
                <a:gd name="connsiteY0" fmla="*/ 1767268 h 3898677"/>
                <a:gd name="connsiteX1" fmla="*/ 1962531 w 3729800"/>
                <a:gd name="connsiteY1" fmla="*/ 74867 h 3898677"/>
                <a:gd name="connsiteX2" fmla="*/ 1781175 w 3729800"/>
                <a:gd name="connsiteY2" fmla="*/ 0 h 3898677"/>
                <a:gd name="connsiteX3" fmla="*/ 1599819 w 3729800"/>
                <a:gd name="connsiteY3" fmla="*/ 74867 h 3898677"/>
                <a:gd name="connsiteX4" fmla="*/ 1446181 w 3729800"/>
                <a:gd name="connsiteY4" fmla="*/ 228600 h 3898677"/>
                <a:gd name="connsiteX5" fmla="*/ 1371314 w 3729800"/>
                <a:gd name="connsiteY5" fmla="*/ 409956 h 3898677"/>
                <a:gd name="connsiteX6" fmla="*/ 1446181 w 3729800"/>
                <a:gd name="connsiteY6" fmla="*/ 593408 h 3898677"/>
                <a:gd name="connsiteX7" fmla="*/ 2433542 w 3729800"/>
                <a:gd name="connsiteY7" fmla="*/ 1582864 h 3898677"/>
                <a:gd name="connsiteX8" fmla="*/ 253175 w 3729800"/>
                <a:gd name="connsiteY8" fmla="*/ 1582864 h 3898677"/>
                <a:gd name="connsiteX9" fmla="*/ 0 w 3729800"/>
                <a:gd name="connsiteY9" fmla="*/ 1835087 h 3898677"/>
                <a:gd name="connsiteX10" fmla="*/ 0 w 3729800"/>
                <a:gd name="connsiteY10" fmla="*/ 2052352 h 3898677"/>
                <a:gd name="connsiteX11" fmla="*/ 253175 w 3729800"/>
                <a:gd name="connsiteY11" fmla="*/ 2315718 h 3898677"/>
                <a:gd name="connsiteX12" fmla="*/ 2444687 w 3729800"/>
                <a:gd name="connsiteY12" fmla="*/ 2315718 h 3898677"/>
                <a:gd name="connsiteX13" fmla="*/ 1446181 w 3729800"/>
                <a:gd name="connsiteY13" fmla="*/ 3310699 h 3898677"/>
                <a:gd name="connsiteX14" fmla="*/ 1371314 w 3729800"/>
                <a:gd name="connsiteY14" fmla="*/ 3490341 h 3898677"/>
                <a:gd name="connsiteX15" fmla="*/ 1446181 w 3729800"/>
                <a:gd name="connsiteY15" fmla="*/ 3670840 h 3898677"/>
                <a:gd name="connsiteX16" fmla="*/ 1599819 w 3729800"/>
                <a:gd name="connsiteY16" fmla="*/ 3824002 h 3898677"/>
                <a:gd name="connsiteX17" fmla="*/ 1781175 w 3729800"/>
                <a:gd name="connsiteY17" fmla="*/ 3898678 h 3898677"/>
                <a:gd name="connsiteX18" fmla="*/ 1962531 w 3729800"/>
                <a:gd name="connsiteY18" fmla="*/ 3823716 h 3898677"/>
                <a:gd name="connsiteX19" fmla="*/ 3654933 w 3729800"/>
                <a:gd name="connsiteY19" fmla="*/ 2131314 h 3898677"/>
                <a:gd name="connsiteX20" fmla="*/ 3729799 w 3729800"/>
                <a:gd name="connsiteY20" fmla="*/ 1949387 h 3898677"/>
                <a:gd name="connsiteX21" fmla="*/ 3654933 w 3729800"/>
                <a:gd name="connsiteY21" fmla="*/ 1767268 h 389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729800" h="3898677">
                  <a:moveTo>
                    <a:pt x="3654933" y="1767268"/>
                  </a:moveTo>
                  <a:lnTo>
                    <a:pt x="1962531" y="74867"/>
                  </a:lnTo>
                  <a:cubicBezTo>
                    <a:pt x="1914239" y="26575"/>
                    <a:pt x="1849850" y="0"/>
                    <a:pt x="1781175" y="0"/>
                  </a:cubicBezTo>
                  <a:cubicBezTo>
                    <a:pt x="1712500" y="0"/>
                    <a:pt x="1648111" y="26575"/>
                    <a:pt x="1599819" y="74867"/>
                  </a:cubicBezTo>
                  <a:lnTo>
                    <a:pt x="1446181" y="228600"/>
                  </a:lnTo>
                  <a:cubicBezTo>
                    <a:pt x="1397889" y="276797"/>
                    <a:pt x="1371314" y="341281"/>
                    <a:pt x="1371314" y="409956"/>
                  </a:cubicBezTo>
                  <a:cubicBezTo>
                    <a:pt x="1371314" y="478631"/>
                    <a:pt x="1397889" y="545211"/>
                    <a:pt x="1446181" y="593408"/>
                  </a:cubicBezTo>
                  <a:lnTo>
                    <a:pt x="2433542" y="1582864"/>
                  </a:lnTo>
                  <a:lnTo>
                    <a:pt x="253175" y="1582864"/>
                  </a:lnTo>
                  <a:cubicBezTo>
                    <a:pt x="111728" y="1582864"/>
                    <a:pt x="0" y="1693545"/>
                    <a:pt x="0" y="1835087"/>
                  </a:cubicBezTo>
                  <a:lnTo>
                    <a:pt x="0" y="2052352"/>
                  </a:lnTo>
                  <a:cubicBezTo>
                    <a:pt x="0" y="2193798"/>
                    <a:pt x="111728" y="2315718"/>
                    <a:pt x="253175" y="2315718"/>
                  </a:cubicBezTo>
                  <a:lnTo>
                    <a:pt x="2444687" y="2315718"/>
                  </a:lnTo>
                  <a:lnTo>
                    <a:pt x="1446181" y="3310699"/>
                  </a:lnTo>
                  <a:cubicBezTo>
                    <a:pt x="1397889" y="3358991"/>
                    <a:pt x="1371314" y="3421666"/>
                    <a:pt x="1371314" y="3490341"/>
                  </a:cubicBezTo>
                  <a:cubicBezTo>
                    <a:pt x="1371314" y="3559016"/>
                    <a:pt x="1397889" y="3622548"/>
                    <a:pt x="1446181" y="3670840"/>
                  </a:cubicBezTo>
                  <a:lnTo>
                    <a:pt x="1599819" y="3824002"/>
                  </a:lnTo>
                  <a:cubicBezTo>
                    <a:pt x="1648111" y="3872294"/>
                    <a:pt x="1712500" y="3898678"/>
                    <a:pt x="1781175" y="3898678"/>
                  </a:cubicBezTo>
                  <a:cubicBezTo>
                    <a:pt x="1849850" y="3898678"/>
                    <a:pt x="1914239" y="3872008"/>
                    <a:pt x="1962531" y="3823716"/>
                  </a:cubicBezTo>
                  <a:lnTo>
                    <a:pt x="3654933" y="2131314"/>
                  </a:lnTo>
                  <a:cubicBezTo>
                    <a:pt x="3703320" y="2082832"/>
                    <a:pt x="3729990" y="2018157"/>
                    <a:pt x="3729799" y="1949387"/>
                  </a:cubicBezTo>
                  <a:cubicBezTo>
                    <a:pt x="3729990" y="1880426"/>
                    <a:pt x="3703320" y="1815656"/>
                    <a:pt x="3654933" y="1767268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07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55295D0C-0332-B550-5FDE-B47E5A69247B}"/>
              </a:ext>
            </a:extLst>
          </p:cNvPr>
          <p:cNvSpPr txBox="1">
            <a:spLocks/>
          </p:cNvSpPr>
          <p:nvPr/>
        </p:nvSpPr>
        <p:spPr>
          <a:xfrm>
            <a:off x="1235716" y="4149437"/>
            <a:ext cx="4288404" cy="4979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400" dirty="0">
                <a:solidFill>
                  <a:schemeClr val="tx2">
                    <a:lumMod val="50000"/>
                  </a:schemeClr>
                </a:solidFill>
              </a:rPr>
              <a:t>Utilise public &amp; internal data to extract insights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E702FD34-6EC3-52D8-58AF-320E44242610}"/>
              </a:ext>
            </a:extLst>
          </p:cNvPr>
          <p:cNvGrpSpPr/>
          <p:nvPr/>
        </p:nvGrpSpPr>
        <p:grpSpPr>
          <a:xfrm>
            <a:off x="6537846" y="2653145"/>
            <a:ext cx="257783" cy="257783"/>
            <a:chOff x="6308813" y="2374581"/>
            <a:chExt cx="257783" cy="257783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0A585E4-ECDC-3E6E-C973-B0EC4819A2BA}"/>
                </a:ext>
              </a:extLst>
            </p:cNvPr>
            <p:cNvSpPr/>
            <p:nvPr/>
          </p:nvSpPr>
          <p:spPr>
            <a:xfrm>
              <a:off x="6308813" y="2374581"/>
              <a:ext cx="257783" cy="25778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0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Graphic 8">
              <a:extLst>
                <a:ext uri="{FF2B5EF4-FFF2-40B4-BE49-F238E27FC236}">
                  <a16:creationId xmlns:a16="http://schemas.microsoft.com/office/drawing/2014/main" id="{409F05E3-240A-FA80-153A-CFF71E6BCB36}"/>
                </a:ext>
              </a:extLst>
            </p:cNvPr>
            <p:cNvSpPr/>
            <p:nvPr/>
          </p:nvSpPr>
          <p:spPr>
            <a:xfrm>
              <a:off x="6363670" y="2426090"/>
              <a:ext cx="148067" cy="154769"/>
            </a:xfrm>
            <a:custGeom>
              <a:avLst/>
              <a:gdLst>
                <a:gd name="connsiteX0" fmla="*/ 3654933 w 3729800"/>
                <a:gd name="connsiteY0" fmla="*/ 1767268 h 3898677"/>
                <a:gd name="connsiteX1" fmla="*/ 1962531 w 3729800"/>
                <a:gd name="connsiteY1" fmla="*/ 74867 h 3898677"/>
                <a:gd name="connsiteX2" fmla="*/ 1781175 w 3729800"/>
                <a:gd name="connsiteY2" fmla="*/ 0 h 3898677"/>
                <a:gd name="connsiteX3" fmla="*/ 1599819 w 3729800"/>
                <a:gd name="connsiteY3" fmla="*/ 74867 h 3898677"/>
                <a:gd name="connsiteX4" fmla="*/ 1446181 w 3729800"/>
                <a:gd name="connsiteY4" fmla="*/ 228600 h 3898677"/>
                <a:gd name="connsiteX5" fmla="*/ 1371314 w 3729800"/>
                <a:gd name="connsiteY5" fmla="*/ 409956 h 3898677"/>
                <a:gd name="connsiteX6" fmla="*/ 1446181 w 3729800"/>
                <a:gd name="connsiteY6" fmla="*/ 593408 h 3898677"/>
                <a:gd name="connsiteX7" fmla="*/ 2433542 w 3729800"/>
                <a:gd name="connsiteY7" fmla="*/ 1582864 h 3898677"/>
                <a:gd name="connsiteX8" fmla="*/ 253175 w 3729800"/>
                <a:gd name="connsiteY8" fmla="*/ 1582864 h 3898677"/>
                <a:gd name="connsiteX9" fmla="*/ 0 w 3729800"/>
                <a:gd name="connsiteY9" fmla="*/ 1835087 h 3898677"/>
                <a:gd name="connsiteX10" fmla="*/ 0 w 3729800"/>
                <a:gd name="connsiteY10" fmla="*/ 2052352 h 3898677"/>
                <a:gd name="connsiteX11" fmla="*/ 253175 w 3729800"/>
                <a:gd name="connsiteY11" fmla="*/ 2315718 h 3898677"/>
                <a:gd name="connsiteX12" fmla="*/ 2444687 w 3729800"/>
                <a:gd name="connsiteY12" fmla="*/ 2315718 h 3898677"/>
                <a:gd name="connsiteX13" fmla="*/ 1446181 w 3729800"/>
                <a:gd name="connsiteY13" fmla="*/ 3310699 h 3898677"/>
                <a:gd name="connsiteX14" fmla="*/ 1371314 w 3729800"/>
                <a:gd name="connsiteY14" fmla="*/ 3490341 h 3898677"/>
                <a:gd name="connsiteX15" fmla="*/ 1446181 w 3729800"/>
                <a:gd name="connsiteY15" fmla="*/ 3670840 h 3898677"/>
                <a:gd name="connsiteX16" fmla="*/ 1599819 w 3729800"/>
                <a:gd name="connsiteY16" fmla="*/ 3824002 h 3898677"/>
                <a:gd name="connsiteX17" fmla="*/ 1781175 w 3729800"/>
                <a:gd name="connsiteY17" fmla="*/ 3898678 h 3898677"/>
                <a:gd name="connsiteX18" fmla="*/ 1962531 w 3729800"/>
                <a:gd name="connsiteY18" fmla="*/ 3823716 h 3898677"/>
                <a:gd name="connsiteX19" fmla="*/ 3654933 w 3729800"/>
                <a:gd name="connsiteY19" fmla="*/ 2131314 h 3898677"/>
                <a:gd name="connsiteX20" fmla="*/ 3729799 w 3729800"/>
                <a:gd name="connsiteY20" fmla="*/ 1949387 h 3898677"/>
                <a:gd name="connsiteX21" fmla="*/ 3654933 w 3729800"/>
                <a:gd name="connsiteY21" fmla="*/ 1767268 h 389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729800" h="3898677">
                  <a:moveTo>
                    <a:pt x="3654933" y="1767268"/>
                  </a:moveTo>
                  <a:lnTo>
                    <a:pt x="1962531" y="74867"/>
                  </a:lnTo>
                  <a:cubicBezTo>
                    <a:pt x="1914239" y="26575"/>
                    <a:pt x="1849850" y="0"/>
                    <a:pt x="1781175" y="0"/>
                  </a:cubicBezTo>
                  <a:cubicBezTo>
                    <a:pt x="1712500" y="0"/>
                    <a:pt x="1648111" y="26575"/>
                    <a:pt x="1599819" y="74867"/>
                  </a:cubicBezTo>
                  <a:lnTo>
                    <a:pt x="1446181" y="228600"/>
                  </a:lnTo>
                  <a:cubicBezTo>
                    <a:pt x="1397889" y="276797"/>
                    <a:pt x="1371314" y="341281"/>
                    <a:pt x="1371314" y="409956"/>
                  </a:cubicBezTo>
                  <a:cubicBezTo>
                    <a:pt x="1371314" y="478631"/>
                    <a:pt x="1397889" y="545211"/>
                    <a:pt x="1446181" y="593408"/>
                  </a:cubicBezTo>
                  <a:lnTo>
                    <a:pt x="2433542" y="1582864"/>
                  </a:lnTo>
                  <a:lnTo>
                    <a:pt x="253175" y="1582864"/>
                  </a:lnTo>
                  <a:cubicBezTo>
                    <a:pt x="111728" y="1582864"/>
                    <a:pt x="0" y="1693545"/>
                    <a:pt x="0" y="1835087"/>
                  </a:cubicBezTo>
                  <a:lnTo>
                    <a:pt x="0" y="2052352"/>
                  </a:lnTo>
                  <a:cubicBezTo>
                    <a:pt x="0" y="2193798"/>
                    <a:pt x="111728" y="2315718"/>
                    <a:pt x="253175" y="2315718"/>
                  </a:cubicBezTo>
                  <a:lnTo>
                    <a:pt x="2444687" y="2315718"/>
                  </a:lnTo>
                  <a:lnTo>
                    <a:pt x="1446181" y="3310699"/>
                  </a:lnTo>
                  <a:cubicBezTo>
                    <a:pt x="1397889" y="3358991"/>
                    <a:pt x="1371314" y="3421666"/>
                    <a:pt x="1371314" y="3490341"/>
                  </a:cubicBezTo>
                  <a:cubicBezTo>
                    <a:pt x="1371314" y="3559016"/>
                    <a:pt x="1397889" y="3622548"/>
                    <a:pt x="1446181" y="3670840"/>
                  </a:cubicBezTo>
                  <a:lnTo>
                    <a:pt x="1599819" y="3824002"/>
                  </a:lnTo>
                  <a:cubicBezTo>
                    <a:pt x="1648111" y="3872294"/>
                    <a:pt x="1712500" y="3898678"/>
                    <a:pt x="1781175" y="3898678"/>
                  </a:cubicBezTo>
                  <a:cubicBezTo>
                    <a:pt x="1849850" y="3898678"/>
                    <a:pt x="1914239" y="3872008"/>
                    <a:pt x="1962531" y="3823716"/>
                  </a:cubicBezTo>
                  <a:lnTo>
                    <a:pt x="3654933" y="2131314"/>
                  </a:lnTo>
                  <a:cubicBezTo>
                    <a:pt x="3703320" y="2082832"/>
                    <a:pt x="3729990" y="2018157"/>
                    <a:pt x="3729799" y="1949387"/>
                  </a:cubicBezTo>
                  <a:cubicBezTo>
                    <a:pt x="3729990" y="1880426"/>
                    <a:pt x="3703320" y="1815656"/>
                    <a:pt x="3654933" y="1767268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07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46ED5DE5-6CAF-8114-7FA4-069E8581859A}"/>
              </a:ext>
            </a:extLst>
          </p:cNvPr>
          <p:cNvSpPr txBox="1">
            <a:spLocks/>
          </p:cNvSpPr>
          <p:nvPr/>
        </p:nvSpPr>
        <p:spPr>
          <a:xfrm>
            <a:off x="6858785" y="2606964"/>
            <a:ext cx="4288404" cy="4979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400" dirty="0">
                <a:solidFill>
                  <a:schemeClr val="tx2">
                    <a:lumMod val="50000"/>
                  </a:schemeClr>
                </a:solidFill>
              </a:rPr>
              <a:t>Innovate our data visualisations and analytics  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84C7700-3E9F-FE11-3459-09C20474D2D7}"/>
              </a:ext>
            </a:extLst>
          </p:cNvPr>
          <p:cNvGrpSpPr/>
          <p:nvPr/>
        </p:nvGrpSpPr>
        <p:grpSpPr>
          <a:xfrm>
            <a:off x="6537846" y="3429000"/>
            <a:ext cx="257783" cy="257783"/>
            <a:chOff x="6308813" y="3150436"/>
            <a:chExt cx="257783" cy="257783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6203650-3154-54C1-531A-3C04CDE882EF}"/>
                </a:ext>
              </a:extLst>
            </p:cNvPr>
            <p:cNvSpPr/>
            <p:nvPr/>
          </p:nvSpPr>
          <p:spPr>
            <a:xfrm>
              <a:off x="6308813" y="3150436"/>
              <a:ext cx="257783" cy="25778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0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Graphic 8">
              <a:extLst>
                <a:ext uri="{FF2B5EF4-FFF2-40B4-BE49-F238E27FC236}">
                  <a16:creationId xmlns:a16="http://schemas.microsoft.com/office/drawing/2014/main" id="{00685E80-98B4-866E-6A9D-EFA03EF9E505}"/>
                </a:ext>
              </a:extLst>
            </p:cNvPr>
            <p:cNvSpPr/>
            <p:nvPr/>
          </p:nvSpPr>
          <p:spPr>
            <a:xfrm>
              <a:off x="6363670" y="3201945"/>
              <a:ext cx="148067" cy="154769"/>
            </a:xfrm>
            <a:custGeom>
              <a:avLst/>
              <a:gdLst>
                <a:gd name="connsiteX0" fmla="*/ 3654933 w 3729800"/>
                <a:gd name="connsiteY0" fmla="*/ 1767268 h 3898677"/>
                <a:gd name="connsiteX1" fmla="*/ 1962531 w 3729800"/>
                <a:gd name="connsiteY1" fmla="*/ 74867 h 3898677"/>
                <a:gd name="connsiteX2" fmla="*/ 1781175 w 3729800"/>
                <a:gd name="connsiteY2" fmla="*/ 0 h 3898677"/>
                <a:gd name="connsiteX3" fmla="*/ 1599819 w 3729800"/>
                <a:gd name="connsiteY3" fmla="*/ 74867 h 3898677"/>
                <a:gd name="connsiteX4" fmla="*/ 1446181 w 3729800"/>
                <a:gd name="connsiteY4" fmla="*/ 228600 h 3898677"/>
                <a:gd name="connsiteX5" fmla="*/ 1371314 w 3729800"/>
                <a:gd name="connsiteY5" fmla="*/ 409956 h 3898677"/>
                <a:gd name="connsiteX6" fmla="*/ 1446181 w 3729800"/>
                <a:gd name="connsiteY6" fmla="*/ 593408 h 3898677"/>
                <a:gd name="connsiteX7" fmla="*/ 2433542 w 3729800"/>
                <a:gd name="connsiteY7" fmla="*/ 1582864 h 3898677"/>
                <a:gd name="connsiteX8" fmla="*/ 253175 w 3729800"/>
                <a:gd name="connsiteY8" fmla="*/ 1582864 h 3898677"/>
                <a:gd name="connsiteX9" fmla="*/ 0 w 3729800"/>
                <a:gd name="connsiteY9" fmla="*/ 1835087 h 3898677"/>
                <a:gd name="connsiteX10" fmla="*/ 0 w 3729800"/>
                <a:gd name="connsiteY10" fmla="*/ 2052352 h 3898677"/>
                <a:gd name="connsiteX11" fmla="*/ 253175 w 3729800"/>
                <a:gd name="connsiteY11" fmla="*/ 2315718 h 3898677"/>
                <a:gd name="connsiteX12" fmla="*/ 2444687 w 3729800"/>
                <a:gd name="connsiteY12" fmla="*/ 2315718 h 3898677"/>
                <a:gd name="connsiteX13" fmla="*/ 1446181 w 3729800"/>
                <a:gd name="connsiteY13" fmla="*/ 3310699 h 3898677"/>
                <a:gd name="connsiteX14" fmla="*/ 1371314 w 3729800"/>
                <a:gd name="connsiteY14" fmla="*/ 3490341 h 3898677"/>
                <a:gd name="connsiteX15" fmla="*/ 1446181 w 3729800"/>
                <a:gd name="connsiteY15" fmla="*/ 3670840 h 3898677"/>
                <a:gd name="connsiteX16" fmla="*/ 1599819 w 3729800"/>
                <a:gd name="connsiteY16" fmla="*/ 3824002 h 3898677"/>
                <a:gd name="connsiteX17" fmla="*/ 1781175 w 3729800"/>
                <a:gd name="connsiteY17" fmla="*/ 3898678 h 3898677"/>
                <a:gd name="connsiteX18" fmla="*/ 1962531 w 3729800"/>
                <a:gd name="connsiteY18" fmla="*/ 3823716 h 3898677"/>
                <a:gd name="connsiteX19" fmla="*/ 3654933 w 3729800"/>
                <a:gd name="connsiteY19" fmla="*/ 2131314 h 3898677"/>
                <a:gd name="connsiteX20" fmla="*/ 3729799 w 3729800"/>
                <a:gd name="connsiteY20" fmla="*/ 1949387 h 3898677"/>
                <a:gd name="connsiteX21" fmla="*/ 3654933 w 3729800"/>
                <a:gd name="connsiteY21" fmla="*/ 1767268 h 389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729800" h="3898677">
                  <a:moveTo>
                    <a:pt x="3654933" y="1767268"/>
                  </a:moveTo>
                  <a:lnTo>
                    <a:pt x="1962531" y="74867"/>
                  </a:lnTo>
                  <a:cubicBezTo>
                    <a:pt x="1914239" y="26575"/>
                    <a:pt x="1849850" y="0"/>
                    <a:pt x="1781175" y="0"/>
                  </a:cubicBezTo>
                  <a:cubicBezTo>
                    <a:pt x="1712500" y="0"/>
                    <a:pt x="1648111" y="26575"/>
                    <a:pt x="1599819" y="74867"/>
                  </a:cubicBezTo>
                  <a:lnTo>
                    <a:pt x="1446181" y="228600"/>
                  </a:lnTo>
                  <a:cubicBezTo>
                    <a:pt x="1397889" y="276797"/>
                    <a:pt x="1371314" y="341281"/>
                    <a:pt x="1371314" y="409956"/>
                  </a:cubicBezTo>
                  <a:cubicBezTo>
                    <a:pt x="1371314" y="478631"/>
                    <a:pt x="1397889" y="545211"/>
                    <a:pt x="1446181" y="593408"/>
                  </a:cubicBezTo>
                  <a:lnTo>
                    <a:pt x="2433542" y="1582864"/>
                  </a:lnTo>
                  <a:lnTo>
                    <a:pt x="253175" y="1582864"/>
                  </a:lnTo>
                  <a:cubicBezTo>
                    <a:pt x="111728" y="1582864"/>
                    <a:pt x="0" y="1693545"/>
                    <a:pt x="0" y="1835087"/>
                  </a:cubicBezTo>
                  <a:lnTo>
                    <a:pt x="0" y="2052352"/>
                  </a:lnTo>
                  <a:cubicBezTo>
                    <a:pt x="0" y="2193798"/>
                    <a:pt x="111728" y="2315718"/>
                    <a:pt x="253175" y="2315718"/>
                  </a:cubicBezTo>
                  <a:lnTo>
                    <a:pt x="2444687" y="2315718"/>
                  </a:lnTo>
                  <a:lnTo>
                    <a:pt x="1446181" y="3310699"/>
                  </a:lnTo>
                  <a:cubicBezTo>
                    <a:pt x="1397889" y="3358991"/>
                    <a:pt x="1371314" y="3421666"/>
                    <a:pt x="1371314" y="3490341"/>
                  </a:cubicBezTo>
                  <a:cubicBezTo>
                    <a:pt x="1371314" y="3559016"/>
                    <a:pt x="1397889" y="3622548"/>
                    <a:pt x="1446181" y="3670840"/>
                  </a:cubicBezTo>
                  <a:lnTo>
                    <a:pt x="1599819" y="3824002"/>
                  </a:lnTo>
                  <a:cubicBezTo>
                    <a:pt x="1648111" y="3872294"/>
                    <a:pt x="1712500" y="3898678"/>
                    <a:pt x="1781175" y="3898678"/>
                  </a:cubicBezTo>
                  <a:cubicBezTo>
                    <a:pt x="1849850" y="3898678"/>
                    <a:pt x="1914239" y="3872008"/>
                    <a:pt x="1962531" y="3823716"/>
                  </a:cubicBezTo>
                  <a:lnTo>
                    <a:pt x="3654933" y="2131314"/>
                  </a:lnTo>
                  <a:cubicBezTo>
                    <a:pt x="3703320" y="2082832"/>
                    <a:pt x="3729990" y="2018157"/>
                    <a:pt x="3729799" y="1949387"/>
                  </a:cubicBezTo>
                  <a:cubicBezTo>
                    <a:pt x="3729990" y="1880426"/>
                    <a:pt x="3703320" y="1815656"/>
                    <a:pt x="3654933" y="1767268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07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8" name="Text Placeholder 28">
            <a:extLst>
              <a:ext uri="{FF2B5EF4-FFF2-40B4-BE49-F238E27FC236}">
                <a16:creationId xmlns:a16="http://schemas.microsoft.com/office/drawing/2014/main" id="{29AAF6A1-12B0-6631-572E-01AFC1A0F594}"/>
              </a:ext>
            </a:extLst>
          </p:cNvPr>
          <p:cNvSpPr txBox="1">
            <a:spLocks/>
          </p:cNvSpPr>
          <p:nvPr/>
        </p:nvSpPr>
        <p:spPr>
          <a:xfrm>
            <a:off x="6858785" y="3382819"/>
            <a:ext cx="4288404" cy="4979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400" dirty="0">
                <a:solidFill>
                  <a:schemeClr val="tx2">
                    <a:lumMod val="50000"/>
                  </a:schemeClr>
                </a:solidFill>
              </a:rPr>
              <a:t>Extrapolate fresh insights from internal and external stakeholders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9B5E22AC-8307-D415-7688-EF1C9239E00B}"/>
              </a:ext>
            </a:extLst>
          </p:cNvPr>
          <p:cNvGrpSpPr/>
          <p:nvPr/>
        </p:nvGrpSpPr>
        <p:grpSpPr>
          <a:xfrm>
            <a:off x="6537846" y="4195618"/>
            <a:ext cx="257783" cy="257783"/>
            <a:chOff x="6308813" y="3917054"/>
            <a:chExt cx="257783" cy="257783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3EE3901-59D0-334A-53DB-F11871FEE6AD}"/>
                </a:ext>
              </a:extLst>
            </p:cNvPr>
            <p:cNvSpPr/>
            <p:nvPr/>
          </p:nvSpPr>
          <p:spPr>
            <a:xfrm>
              <a:off x="6308813" y="3917054"/>
              <a:ext cx="257783" cy="25778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0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Graphic 8">
              <a:extLst>
                <a:ext uri="{FF2B5EF4-FFF2-40B4-BE49-F238E27FC236}">
                  <a16:creationId xmlns:a16="http://schemas.microsoft.com/office/drawing/2014/main" id="{222C34DC-18D2-B5D4-44EB-704A180331E4}"/>
                </a:ext>
              </a:extLst>
            </p:cNvPr>
            <p:cNvSpPr/>
            <p:nvPr/>
          </p:nvSpPr>
          <p:spPr>
            <a:xfrm>
              <a:off x="6363670" y="3968563"/>
              <a:ext cx="148067" cy="154769"/>
            </a:xfrm>
            <a:custGeom>
              <a:avLst/>
              <a:gdLst>
                <a:gd name="connsiteX0" fmla="*/ 3654933 w 3729800"/>
                <a:gd name="connsiteY0" fmla="*/ 1767268 h 3898677"/>
                <a:gd name="connsiteX1" fmla="*/ 1962531 w 3729800"/>
                <a:gd name="connsiteY1" fmla="*/ 74867 h 3898677"/>
                <a:gd name="connsiteX2" fmla="*/ 1781175 w 3729800"/>
                <a:gd name="connsiteY2" fmla="*/ 0 h 3898677"/>
                <a:gd name="connsiteX3" fmla="*/ 1599819 w 3729800"/>
                <a:gd name="connsiteY3" fmla="*/ 74867 h 3898677"/>
                <a:gd name="connsiteX4" fmla="*/ 1446181 w 3729800"/>
                <a:gd name="connsiteY4" fmla="*/ 228600 h 3898677"/>
                <a:gd name="connsiteX5" fmla="*/ 1371314 w 3729800"/>
                <a:gd name="connsiteY5" fmla="*/ 409956 h 3898677"/>
                <a:gd name="connsiteX6" fmla="*/ 1446181 w 3729800"/>
                <a:gd name="connsiteY6" fmla="*/ 593408 h 3898677"/>
                <a:gd name="connsiteX7" fmla="*/ 2433542 w 3729800"/>
                <a:gd name="connsiteY7" fmla="*/ 1582864 h 3898677"/>
                <a:gd name="connsiteX8" fmla="*/ 253175 w 3729800"/>
                <a:gd name="connsiteY8" fmla="*/ 1582864 h 3898677"/>
                <a:gd name="connsiteX9" fmla="*/ 0 w 3729800"/>
                <a:gd name="connsiteY9" fmla="*/ 1835087 h 3898677"/>
                <a:gd name="connsiteX10" fmla="*/ 0 w 3729800"/>
                <a:gd name="connsiteY10" fmla="*/ 2052352 h 3898677"/>
                <a:gd name="connsiteX11" fmla="*/ 253175 w 3729800"/>
                <a:gd name="connsiteY11" fmla="*/ 2315718 h 3898677"/>
                <a:gd name="connsiteX12" fmla="*/ 2444687 w 3729800"/>
                <a:gd name="connsiteY12" fmla="*/ 2315718 h 3898677"/>
                <a:gd name="connsiteX13" fmla="*/ 1446181 w 3729800"/>
                <a:gd name="connsiteY13" fmla="*/ 3310699 h 3898677"/>
                <a:gd name="connsiteX14" fmla="*/ 1371314 w 3729800"/>
                <a:gd name="connsiteY14" fmla="*/ 3490341 h 3898677"/>
                <a:gd name="connsiteX15" fmla="*/ 1446181 w 3729800"/>
                <a:gd name="connsiteY15" fmla="*/ 3670840 h 3898677"/>
                <a:gd name="connsiteX16" fmla="*/ 1599819 w 3729800"/>
                <a:gd name="connsiteY16" fmla="*/ 3824002 h 3898677"/>
                <a:gd name="connsiteX17" fmla="*/ 1781175 w 3729800"/>
                <a:gd name="connsiteY17" fmla="*/ 3898678 h 3898677"/>
                <a:gd name="connsiteX18" fmla="*/ 1962531 w 3729800"/>
                <a:gd name="connsiteY18" fmla="*/ 3823716 h 3898677"/>
                <a:gd name="connsiteX19" fmla="*/ 3654933 w 3729800"/>
                <a:gd name="connsiteY19" fmla="*/ 2131314 h 3898677"/>
                <a:gd name="connsiteX20" fmla="*/ 3729799 w 3729800"/>
                <a:gd name="connsiteY20" fmla="*/ 1949387 h 3898677"/>
                <a:gd name="connsiteX21" fmla="*/ 3654933 w 3729800"/>
                <a:gd name="connsiteY21" fmla="*/ 1767268 h 389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729800" h="3898677">
                  <a:moveTo>
                    <a:pt x="3654933" y="1767268"/>
                  </a:moveTo>
                  <a:lnTo>
                    <a:pt x="1962531" y="74867"/>
                  </a:lnTo>
                  <a:cubicBezTo>
                    <a:pt x="1914239" y="26575"/>
                    <a:pt x="1849850" y="0"/>
                    <a:pt x="1781175" y="0"/>
                  </a:cubicBezTo>
                  <a:cubicBezTo>
                    <a:pt x="1712500" y="0"/>
                    <a:pt x="1648111" y="26575"/>
                    <a:pt x="1599819" y="74867"/>
                  </a:cubicBezTo>
                  <a:lnTo>
                    <a:pt x="1446181" y="228600"/>
                  </a:lnTo>
                  <a:cubicBezTo>
                    <a:pt x="1397889" y="276797"/>
                    <a:pt x="1371314" y="341281"/>
                    <a:pt x="1371314" y="409956"/>
                  </a:cubicBezTo>
                  <a:cubicBezTo>
                    <a:pt x="1371314" y="478631"/>
                    <a:pt x="1397889" y="545211"/>
                    <a:pt x="1446181" y="593408"/>
                  </a:cubicBezTo>
                  <a:lnTo>
                    <a:pt x="2433542" y="1582864"/>
                  </a:lnTo>
                  <a:lnTo>
                    <a:pt x="253175" y="1582864"/>
                  </a:lnTo>
                  <a:cubicBezTo>
                    <a:pt x="111728" y="1582864"/>
                    <a:pt x="0" y="1693545"/>
                    <a:pt x="0" y="1835087"/>
                  </a:cubicBezTo>
                  <a:lnTo>
                    <a:pt x="0" y="2052352"/>
                  </a:lnTo>
                  <a:cubicBezTo>
                    <a:pt x="0" y="2193798"/>
                    <a:pt x="111728" y="2315718"/>
                    <a:pt x="253175" y="2315718"/>
                  </a:cubicBezTo>
                  <a:lnTo>
                    <a:pt x="2444687" y="2315718"/>
                  </a:lnTo>
                  <a:lnTo>
                    <a:pt x="1446181" y="3310699"/>
                  </a:lnTo>
                  <a:cubicBezTo>
                    <a:pt x="1397889" y="3358991"/>
                    <a:pt x="1371314" y="3421666"/>
                    <a:pt x="1371314" y="3490341"/>
                  </a:cubicBezTo>
                  <a:cubicBezTo>
                    <a:pt x="1371314" y="3559016"/>
                    <a:pt x="1397889" y="3622548"/>
                    <a:pt x="1446181" y="3670840"/>
                  </a:cubicBezTo>
                  <a:lnTo>
                    <a:pt x="1599819" y="3824002"/>
                  </a:lnTo>
                  <a:cubicBezTo>
                    <a:pt x="1648111" y="3872294"/>
                    <a:pt x="1712500" y="3898678"/>
                    <a:pt x="1781175" y="3898678"/>
                  </a:cubicBezTo>
                  <a:cubicBezTo>
                    <a:pt x="1849850" y="3898678"/>
                    <a:pt x="1914239" y="3872008"/>
                    <a:pt x="1962531" y="3823716"/>
                  </a:cubicBezTo>
                  <a:lnTo>
                    <a:pt x="3654933" y="2131314"/>
                  </a:lnTo>
                  <a:cubicBezTo>
                    <a:pt x="3703320" y="2082832"/>
                    <a:pt x="3729990" y="2018157"/>
                    <a:pt x="3729799" y="1949387"/>
                  </a:cubicBezTo>
                  <a:cubicBezTo>
                    <a:pt x="3729990" y="1880426"/>
                    <a:pt x="3703320" y="1815656"/>
                    <a:pt x="3654933" y="1767268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07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2" name="Text Placeholder 28">
            <a:extLst>
              <a:ext uri="{FF2B5EF4-FFF2-40B4-BE49-F238E27FC236}">
                <a16:creationId xmlns:a16="http://schemas.microsoft.com/office/drawing/2014/main" id="{FD34B132-C468-74C7-9681-A12ED20E852E}"/>
              </a:ext>
            </a:extLst>
          </p:cNvPr>
          <p:cNvSpPr txBox="1">
            <a:spLocks/>
          </p:cNvSpPr>
          <p:nvPr/>
        </p:nvSpPr>
        <p:spPr>
          <a:xfrm>
            <a:off x="6858785" y="4149437"/>
            <a:ext cx="4288404" cy="4979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400" dirty="0">
                <a:solidFill>
                  <a:schemeClr val="tx2">
                    <a:lumMod val="50000"/>
                  </a:schemeClr>
                </a:solidFill>
              </a:rPr>
              <a:t>Could be used for decision-making, strategic initiatives and biz operation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17076B1-6AE8-68CA-0879-F4A7AE8455B9}"/>
              </a:ext>
            </a:extLst>
          </p:cNvPr>
          <p:cNvSpPr txBox="1">
            <a:spLocks/>
          </p:cNvSpPr>
          <p:nvPr/>
        </p:nvSpPr>
        <p:spPr>
          <a:xfrm>
            <a:off x="858225" y="1930974"/>
            <a:ext cx="4665896" cy="42473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2400" dirty="0">
                <a:solidFill>
                  <a:schemeClr val="accent1"/>
                </a:solidFill>
              </a:rPr>
              <a:t>What is this project about?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D1AA2A2-935E-1C91-DA32-6D6D71C24755}"/>
              </a:ext>
            </a:extLst>
          </p:cNvPr>
          <p:cNvSpPr txBox="1">
            <a:spLocks/>
          </p:cNvSpPr>
          <p:nvPr/>
        </p:nvSpPr>
        <p:spPr>
          <a:xfrm>
            <a:off x="6529352" y="1930974"/>
            <a:ext cx="4665896" cy="42473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2400" dirty="0">
                <a:solidFill>
                  <a:schemeClr val="accent1"/>
                </a:solidFill>
              </a:rPr>
              <a:t>For what purpose?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F5A2E74-51D1-7C68-022E-1E936D30EA07}"/>
              </a:ext>
            </a:extLst>
          </p:cNvPr>
          <p:cNvGrpSpPr/>
          <p:nvPr/>
        </p:nvGrpSpPr>
        <p:grpSpPr>
          <a:xfrm>
            <a:off x="10317794" y="1305373"/>
            <a:ext cx="877454" cy="877454"/>
            <a:chOff x="729672" y="1990163"/>
            <a:chExt cx="877454" cy="877454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84FD7A49-D813-C051-8A48-AEC7C0D75FEC}"/>
                </a:ext>
              </a:extLst>
            </p:cNvPr>
            <p:cNvSpPr/>
            <p:nvPr/>
          </p:nvSpPr>
          <p:spPr>
            <a:xfrm>
              <a:off x="729672" y="1990163"/>
              <a:ext cx="877454" cy="87745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30E451FD-EC4C-2458-0427-0E99E618881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82253" y="2142167"/>
              <a:ext cx="563056" cy="563056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43F3C5D-F2B4-5CCA-88AE-576784BB648E}"/>
              </a:ext>
            </a:extLst>
          </p:cNvPr>
          <p:cNvGrpSpPr/>
          <p:nvPr/>
        </p:nvGrpSpPr>
        <p:grpSpPr>
          <a:xfrm>
            <a:off x="4681395" y="1305373"/>
            <a:ext cx="877454" cy="877454"/>
            <a:chOff x="9081984" y="1990163"/>
            <a:chExt cx="877454" cy="877454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1D2049F6-21B1-A567-6E99-04B70483FA09}"/>
                </a:ext>
              </a:extLst>
            </p:cNvPr>
            <p:cNvSpPr/>
            <p:nvPr/>
          </p:nvSpPr>
          <p:spPr>
            <a:xfrm>
              <a:off x="9081984" y="1990163"/>
              <a:ext cx="877454" cy="87745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pic>
          <p:nvPicPr>
            <p:cNvPr id="22" name="Graphic 21">
              <a:extLst>
                <a:ext uri="{FF2B5EF4-FFF2-40B4-BE49-F238E27FC236}">
                  <a16:creationId xmlns:a16="http://schemas.microsoft.com/office/drawing/2014/main" id="{BAEBB972-06C0-76DA-01DF-DD29C77966C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236043" y="2142167"/>
              <a:ext cx="563056" cy="56305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88450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>
            <a:extLst>
              <a:ext uri="{FF2B5EF4-FFF2-40B4-BE49-F238E27FC236}">
                <a16:creationId xmlns:a16="http://schemas.microsoft.com/office/drawing/2014/main" id="{FDF24ADC-A633-1AA1-B8EF-63FC21709C3F}"/>
              </a:ext>
            </a:extLst>
          </p:cNvPr>
          <p:cNvSpPr txBox="1"/>
          <p:nvPr/>
        </p:nvSpPr>
        <p:spPr>
          <a:xfrm>
            <a:off x="1282588" y="3230222"/>
            <a:ext cx="25204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4"/>
              </a:buClr>
              <a:buSzPct val="141000"/>
            </a:pPr>
            <a:r>
              <a:rPr lang="en-US" sz="1600" dirty="0"/>
              <a:t>Innovative data vis, help interpretation of events.</a:t>
            </a:r>
          </a:p>
          <a:p>
            <a:pPr>
              <a:buClr>
                <a:schemeClr val="accent4"/>
              </a:buClr>
              <a:buSzPct val="141000"/>
            </a:pPr>
            <a:endParaRPr lang="en-AU" sz="16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5AD3AC5-626E-14CF-4BFE-227041D5185A}"/>
              </a:ext>
            </a:extLst>
          </p:cNvPr>
          <p:cNvSpPr txBox="1"/>
          <p:nvPr/>
        </p:nvSpPr>
        <p:spPr>
          <a:xfrm>
            <a:off x="1291217" y="2456933"/>
            <a:ext cx="27548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2400" b="1" dirty="0">
                <a:solidFill>
                  <a:srgbClr val="1F2D68"/>
                </a:solidFill>
                <a:latin typeface="Arial" panose="020B0604020202020204"/>
              </a:rPr>
              <a:t>Enhanced visual communication</a:t>
            </a:r>
            <a:endParaRPr kumimoji="0" lang="en-AU" sz="2400" b="1" i="0" u="none" strike="noStrike" kern="1200" cap="none" spc="0" normalizeH="0" baseline="0" noProof="0" dirty="0">
              <a:ln>
                <a:noFill/>
              </a:ln>
              <a:solidFill>
                <a:srgbClr val="1F2D6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20">
            <a:extLst>
              <a:ext uri="{FF2B5EF4-FFF2-40B4-BE49-F238E27FC236}">
                <a16:creationId xmlns:a16="http://schemas.microsoft.com/office/drawing/2014/main" id="{F6A5AC22-5C37-AD2D-1EAE-129B0F71C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roposed Outcomes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4D6E808-1856-E021-0EB3-EB5ED6352B4E}"/>
              </a:ext>
            </a:extLst>
          </p:cNvPr>
          <p:cNvSpPr/>
          <p:nvPr/>
        </p:nvSpPr>
        <p:spPr>
          <a:xfrm>
            <a:off x="4082473" y="1833360"/>
            <a:ext cx="1736867" cy="2580129"/>
          </a:xfrm>
          <a:custGeom>
            <a:avLst/>
            <a:gdLst>
              <a:gd name="connsiteX0" fmla="*/ 1998943 w 2109619"/>
              <a:gd name="connsiteY0" fmla="*/ 202 h 3133854"/>
              <a:gd name="connsiteX1" fmla="*/ 0 w 2109619"/>
              <a:gd name="connsiteY1" fmla="*/ 2127752 h 3133854"/>
              <a:gd name="connsiteX2" fmla="*/ 222461 w 2109619"/>
              <a:gd name="connsiteY2" fmla="*/ 3076699 h 3133854"/>
              <a:gd name="connsiteX3" fmla="*/ 370216 w 2109619"/>
              <a:gd name="connsiteY3" fmla="*/ 3119088 h 3133854"/>
              <a:gd name="connsiteX4" fmla="*/ 1368636 w 2109619"/>
              <a:gd name="connsiteY4" fmla="*/ 2542681 h 3133854"/>
              <a:gd name="connsiteX5" fmla="*/ 2013773 w 2109619"/>
              <a:gd name="connsiteY5" fmla="*/ 2170252 h 3133854"/>
              <a:gd name="connsiteX6" fmla="*/ 2109620 w 2109619"/>
              <a:gd name="connsiteY6" fmla="*/ 2004236 h 3133854"/>
              <a:gd name="connsiteX7" fmla="*/ 2109620 w 2109619"/>
              <a:gd name="connsiteY7" fmla="*/ 106895 h 3133854"/>
              <a:gd name="connsiteX8" fmla="*/ 1999053 w 2109619"/>
              <a:gd name="connsiteY8" fmla="*/ 202 h 3133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09619" h="3133854">
                <a:moveTo>
                  <a:pt x="1998943" y="202"/>
                </a:moveTo>
                <a:cubicBezTo>
                  <a:pt x="885086" y="68932"/>
                  <a:pt x="0" y="996962"/>
                  <a:pt x="0" y="2127752"/>
                </a:cubicBezTo>
                <a:cubicBezTo>
                  <a:pt x="0" y="2457902"/>
                  <a:pt x="76589" y="2783404"/>
                  <a:pt x="222461" y="3076699"/>
                </a:cubicBezTo>
                <a:cubicBezTo>
                  <a:pt x="249688" y="3131484"/>
                  <a:pt x="317201" y="3149635"/>
                  <a:pt x="370216" y="3119088"/>
                </a:cubicBezTo>
                <a:lnTo>
                  <a:pt x="1368636" y="2542681"/>
                </a:lnTo>
                <a:lnTo>
                  <a:pt x="2013773" y="2170252"/>
                </a:lnTo>
                <a:cubicBezTo>
                  <a:pt x="2066677" y="2139705"/>
                  <a:pt x="2109620" y="2065330"/>
                  <a:pt x="2109620" y="2004236"/>
                </a:cubicBezTo>
                <a:lnTo>
                  <a:pt x="2109620" y="106895"/>
                </a:lnTo>
                <a:cubicBezTo>
                  <a:pt x="2109620" y="45801"/>
                  <a:pt x="2060037" y="-3561"/>
                  <a:pt x="1999053" y="202"/>
                </a:cubicBezTo>
                <a:close/>
              </a:path>
            </a:pathLst>
          </a:custGeom>
          <a:solidFill>
            <a:schemeClr val="accent1"/>
          </a:solidFill>
          <a:ln w="1105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2340381-FFAB-D103-5A18-047B9131D266}"/>
              </a:ext>
            </a:extLst>
          </p:cNvPr>
          <p:cNvSpPr/>
          <p:nvPr/>
        </p:nvSpPr>
        <p:spPr>
          <a:xfrm>
            <a:off x="4361111" y="3632904"/>
            <a:ext cx="2953089" cy="1706909"/>
          </a:xfrm>
          <a:custGeom>
            <a:avLst/>
            <a:gdLst>
              <a:gd name="connsiteX0" fmla="*/ 3532612 w 3586857"/>
              <a:gd name="connsiteY0" fmla="*/ 971747 h 2073232"/>
              <a:gd name="connsiteX1" fmla="*/ 2534192 w 3586857"/>
              <a:gd name="connsiteY1" fmla="*/ 395339 h 2073232"/>
              <a:gd name="connsiteX2" fmla="*/ 1889054 w 3586857"/>
              <a:gd name="connsiteY2" fmla="*/ 22910 h 2073232"/>
              <a:gd name="connsiteX3" fmla="*/ 1697361 w 3586857"/>
              <a:gd name="connsiteY3" fmla="*/ 22910 h 2073232"/>
              <a:gd name="connsiteX4" fmla="*/ 1052665 w 3586857"/>
              <a:gd name="connsiteY4" fmla="*/ 395118 h 2073232"/>
              <a:gd name="connsiteX5" fmla="*/ 54245 w 3586857"/>
              <a:gd name="connsiteY5" fmla="*/ 971636 h 2073232"/>
              <a:gd name="connsiteX6" fmla="*/ 17169 w 3586857"/>
              <a:gd name="connsiteY6" fmla="*/ 1120718 h 2073232"/>
              <a:gd name="connsiteX7" fmla="*/ 2859140 w 3586857"/>
              <a:gd name="connsiteY7" fmla="*/ 1788102 h 2073232"/>
              <a:gd name="connsiteX8" fmla="*/ 3569688 w 3586857"/>
              <a:gd name="connsiteY8" fmla="*/ 1120940 h 2073232"/>
              <a:gd name="connsiteX9" fmla="*/ 3532612 w 3586857"/>
              <a:gd name="connsiteY9" fmla="*/ 971857 h 2073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86857" h="2073232">
                <a:moveTo>
                  <a:pt x="3532612" y="971747"/>
                </a:moveTo>
                <a:lnTo>
                  <a:pt x="2534192" y="395339"/>
                </a:lnTo>
                <a:lnTo>
                  <a:pt x="1889054" y="22910"/>
                </a:lnTo>
                <a:cubicBezTo>
                  <a:pt x="1836150" y="-7637"/>
                  <a:pt x="1750264" y="-7637"/>
                  <a:pt x="1697361" y="22910"/>
                </a:cubicBezTo>
                <a:lnTo>
                  <a:pt x="1052665" y="395118"/>
                </a:lnTo>
                <a:lnTo>
                  <a:pt x="54245" y="971636"/>
                </a:lnTo>
                <a:cubicBezTo>
                  <a:pt x="1342" y="1002183"/>
                  <a:pt x="-16588" y="1069807"/>
                  <a:pt x="17169" y="1120718"/>
                </a:cubicBezTo>
                <a:cubicBezTo>
                  <a:pt x="633641" y="2050961"/>
                  <a:pt x="1879867" y="2353442"/>
                  <a:pt x="2859140" y="1788102"/>
                </a:cubicBezTo>
                <a:cubicBezTo>
                  <a:pt x="3145130" y="1622972"/>
                  <a:pt x="3388621" y="1393981"/>
                  <a:pt x="3569688" y="1120940"/>
                </a:cubicBezTo>
                <a:cubicBezTo>
                  <a:pt x="3603445" y="1070028"/>
                  <a:pt x="3585516" y="1002404"/>
                  <a:pt x="3532612" y="971857"/>
                </a:cubicBezTo>
                <a:close/>
              </a:path>
            </a:pathLst>
          </a:custGeom>
          <a:solidFill>
            <a:schemeClr val="accent3"/>
          </a:solidFill>
          <a:ln w="1105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C32D386-830B-CB5E-5190-6B5608D3117C}"/>
              </a:ext>
            </a:extLst>
          </p:cNvPr>
          <p:cNvSpPr/>
          <p:nvPr/>
        </p:nvSpPr>
        <p:spPr>
          <a:xfrm>
            <a:off x="5855789" y="1833087"/>
            <a:ext cx="1736501" cy="2580292"/>
          </a:xfrm>
          <a:custGeom>
            <a:avLst/>
            <a:gdLst>
              <a:gd name="connsiteX0" fmla="*/ 1043576 w 2109175"/>
              <a:gd name="connsiteY0" fmla="*/ 281986 h 3134052"/>
              <a:gd name="connsiteX1" fmla="*/ 110567 w 2109175"/>
              <a:gd name="connsiteY1" fmla="*/ 202 h 3134052"/>
              <a:gd name="connsiteX2" fmla="*/ 0 w 2109175"/>
              <a:gd name="connsiteY2" fmla="*/ 106895 h 3134052"/>
              <a:gd name="connsiteX3" fmla="*/ 0 w 2109175"/>
              <a:gd name="connsiteY3" fmla="*/ 2004678 h 3134052"/>
              <a:gd name="connsiteX4" fmla="*/ 95847 w 2109175"/>
              <a:gd name="connsiteY4" fmla="*/ 2170694 h 3134052"/>
              <a:gd name="connsiteX5" fmla="*/ 740542 w 2109175"/>
              <a:gd name="connsiteY5" fmla="*/ 2542902 h 3134052"/>
              <a:gd name="connsiteX6" fmla="*/ 1739072 w 2109175"/>
              <a:gd name="connsiteY6" fmla="*/ 3119310 h 3134052"/>
              <a:gd name="connsiteX7" fmla="*/ 1886827 w 2109175"/>
              <a:gd name="connsiteY7" fmla="*/ 3076920 h 3134052"/>
              <a:gd name="connsiteX8" fmla="*/ 1043798 w 2109175"/>
              <a:gd name="connsiteY8" fmla="*/ 281986 h 3134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09175" h="3134052">
                <a:moveTo>
                  <a:pt x="1043576" y="281986"/>
                </a:moveTo>
                <a:cubicBezTo>
                  <a:pt x="757697" y="116856"/>
                  <a:pt x="437507" y="20566"/>
                  <a:pt x="110567" y="202"/>
                </a:cubicBezTo>
                <a:cubicBezTo>
                  <a:pt x="49583" y="-3561"/>
                  <a:pt x="0" y="45801"/>
                  <a:pt x="0" y="106895"/>
                </a:cubicBezTo>
                <a:lnTo>
                  <a:pt x="0" y="2004678"/>
                </a:lnTo>
                <a:cubicBezTo>
                  <a:pt x="0" y="2065772"/>
                  <a:pt x="42943" y="2140147"/>
                  <a:pt x="95847" y="2170694"/>
                </a:cubicBezTo>
                <a:lnTo>
                  <a:pt x="740542" y="2542902"/>
                </a:lnTo>
                <a:lnTo>
                  <a:pt x="1739072" y="3119310"/>
                </a:lnTo>
                <a:cubicBezTo>
                  <a:pt x="1791976" y="3149857"/>
                  <a:pt x="1859489" y="3131595"/>
                  <a:pt x="1886827" y="3076920"/>
                </a:cubicBezTo>
                <a:cubicBezTo>
                  <a:pt x="2384210" y="2077947"/>
                  <a:pt x="2023070" y="847437"/>
                  <a:pt x="1043798" y="281986"/>
                </a:cubicBezTo>
                <a:close/>
              </a:path>
            </a:pathLst>
          </a:custGeom>
          <a:solidFill>
            <a:schemeClr val="accent2"/>
          </a:solidFill>
          <a:ln w="1105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9A8E290-D028-41A1-632E-18BD18F605B8}"/>
              </a:ext>
            </a:extLst>
          </p:cNvPr>
          <p:cNvSpPr/>
          <p:nvPr/>
        </p:nvSpPr>
        <p:spPr>
          <a:xfrm>
            <a:off x="4942359" y="2690261"/>
            <a:ext cx="872323" cy="1322344"/>
          </a:xfrm>
          <a:custGeom>
            <a:avLst/>
            <a:gdLst>
              <a:gd name="connsiteX0" fmla="*/ 846349 w 846349"/>
              <a:gd name="connsiteY0" fmla="*/ 744526 h 1282971"/>
              <a:gd name="connsiteX1" fmla="*/ 846349 w 846349"/>
              <a:gd name="connsiteY1" fmla="*/ 0 h 1282971"/>
              <a:gd name="connsiteX2" fmla="*/ 0 w 846349"/>
              <a:gd name="connsiteY2" fmla="*/ 867931 h 1282971"/>
              <a:gd name="connsiteX3" fmla="*/ 105365 w 846349"/>
              <a:gd name="connsiteY3" fmla="*/ 1282971 h 1282971"/>
              <a:gd name="connsiteX4" fmla="*/ 750503 w 846349"/>
              <a:gd name="connsiteY4" fmla="*/ 910542 h 1282971"/>
              <a:gd name="connsiteX5" fmla="*/ 846349 w 846349"/>
              <a:gd name="connsiteY5" fmla="*/ 744526 h 128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349" h="1282971">
                <a:moveTo>
                  <a:pt x="846349" y="744526"/>
                </a:moveTo>
                <a:lnTo>
                  <a:pt x="846349" y="0"/>
                </a:lnTo>
                <a:cubicBezTo>
                  <a:pt x="376967" y="11732"/>
                  <a:pt x="0" y="395671"/>
                  <a:pt x="0" y="867931"/>
                </a:cubicBezTo>
                <a:cubicBezTo>
                  <a:pt x="0" y="1018231"/>
                  <a:pt x="38184" y="1159677"/>
                  <a:pt x="105365" y="1282971"/>
                </a:cubicBezTo>
                <a:lnTo>
                  <a:pt x="750503" y="910542"/>
                </a:lnTo>
                <a:cubicBezTo>
                  <a:pt x="803407" y="879995"/>
                  <a:pt x="846349" y="805620"/>
                  <a:pt x="846349" y="744526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 w="1105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94CA2A2-1966-F16B-04D1-691A19EDF4D7}"/>
              </a:ext>
            </a:extLst>
          </p:cNvPr>
          <p:cNvSpPr/>
          <p:nvPr/>
        </p:nvSpPr>
        <p:spPr>
          <a:xfrm>
            <a:off x="5074229" y="3644604"/>
            <a:ext cx="1526994" cy="835470"/>
          </a:xfrm>
          <a:custGeom>
            <a:avLst/>
            <a:gdLst>
              <a:gd name="connsiteX0" fmla="*/ 644695 w 1481526"/>
              <a:gd name="connsiteY0" fmla="*/ 22910 h 810593"/>
              <a:gd name="connsiteX1" fmla="*/ 0 w 1481526"/>
              <a:gd name="connsiteY1" fmla="*/ 395118 h 810593"/>
              <a:gd name="connsiteX2" fmla="*/ 1174840 w 1481526"/>
              <a:gd name="connsiteY2" fmla="*/ 694168 h 810593"/>
              <a:gd name="connsiteX3" fmla="*/ 1481526 w 1481526"/>
              <a:gd name="connsiteY3" fmla="*/ 395339 h 810593"/>
              <a:gd name="connsiteX4" fmla="*/ 836388 w 1481526"/>
              <a:gd name="connsiteY4" fmla="*/ 22910 h 810593"/>
              <a:gd name="connsiteX5" fmla="*/ 644695 w 1481526"/>
              <a:gd name="connsiteY5" fmla="*/ 22910 h 810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81526" h="810593">
                <a:moveTo>
                  <a:pt x="644695" y="22910"/>
                </a:moveTo>
                <a:lnTo>
                  <a:pt x="0" y="395118"/>
                </a:lnTo>
                <a:cubicBezTo>
                  <a:pt x="244929" y="795770"/>
                  <a:pt x="765887" y="930243"/>
                  <a:pt x="1174840" y="694168"/>
                </a:cubicBezTo>
                <a:cubicBezTo>
                  <a:pt x="1304996" y="619018"/>
                  <a:pt x="1408369" y="515203"/>
                  <a:pt x="1481526" y="395339"/>
                </a:cubicBezTo>
                <a:lnTo>
                  <a:pt x="836388" y="22910"/>
                </a:lnTo>
                <a:cubicBezTo>
                  <a:pt x="783485" y="-7637"/>
                  <a:pt x="697599" y="-7637"/>
                  <a:pt x="644695" y="22910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1105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7ABF067A-9B30-D775-C51A-12B3D5FBFA70}"/>
              </a:ext>
            </a:extLst>
          </p:cNvPr>
          <p:cNvSpPr/>
          <p:nvPr/>
        </p:nvSpPr>
        <p:spPr>
          <a:xfrm>
            <a:off x="5860198" y="2689807"/>
            <a:ext cx="872307" cy="1322573"/>
          </a:xfrm>
          <a:custGeom>
            <a:avLst/>
            <a:gdLst>
              <a:gd name="connsiteX0" fmla="*/ 95957 w 846334"/>
              <a:gd name="connsiteY0" fmla="*/ 910985 h 1283192"/>
              <a:gd name="connsiteX1" fmla="*/ 740653 w 846334"/>
              <a:gd name="connsiteY1" fmla="*/ 1283193 h 1283192"/>
              <a:gd name="connsiteX2" fmla="*/ 412162 w 846334"/>
              <a:gd name="connsiteY2" fmla="*/ 116211 h 1283192"/>
              <a:gd name="connsiteX3" fmla="*/ 0 w 846334"/>
              <a:gd name="connsiteY3" fmla="*/ 0 h 1283192"/>
              <a:gd name="connsiteX4" fmla="*/ 0 w 846334"/>
              <a:gd name="connsiteY4" fmla="*/ 744858 h 1283192"/>
              <a:gd name="connsiteX5" fmla="*/ 95847 w 846334"/>
              <a:gd name="connsiteY5" fmla="*/ 910874 h 1283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334" h="1283192">
                <a:moveTo>
                  <a:pt x="95957" y="910985"/>
                </a:moveTo>
                <a:lnTo>
                  <a:pt x="740653" y="1283193"/>
                </a:lnTo>
                <a:cubicBezTo>
                  <a:pt x="965106" y="870809"/>
                  <a:pt x="821115" y="352397"/>
                  <a:pt x="412162" y="116211"/>
                </a:cubicBezTo>
                <a:cubicBezTo>
                  <a:pt x="282006" y="41061"/>
                  <a:pt x="140450" y="3431"/>
                  <a:pt x="0" y="0"/>
                </a:cubicBezTo>
                <a:lnTo>
                  <a:pt x="0" y="744858"/>
                </a:lnTo>
                <a:cubicBezTo>
                  <a:pt x="0" y="805952"/>
                  <a:pt x="42943" y="880327"/>
                  <a:pt x="95847" y="910874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 w="1105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12FF923-F341-740A-D0AF-DA227B5FB355}"/>
              </a:ext>
            </a:extLst>
          </p:cNvPr>
          <p:cNvGrpSpPr/>
          <p:nvPr/>
        </p:nvGrpSpPr>
        <p:grpSpPr>
          <a:xfrm>
            <a:off x="4552768" y="2265205"/>
            <a:ext cx="2569458" cy="2569454"/>
            <a:chOff x="4876390" y="2593066"/>
            <a:chExt cx="1922187" cy="1922187"/>
          </a:xfrm>
        </p:grpSpPr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167AB172-2A1B-06C3-08A6-1BB8FC04E8D0}"/>
                </a:ext>
              </a:extLst>
            </p:cNvPr>
            <p:cNvSpPr/>
            <p:nvPr/>
          </p:nvSpPr>
          <p:spPr>
            <a:xfrm>
              <a:off x="4876390" y="2593066"/>
              <a:ext cx="1922187" cy="1922187"/>
            </a:xfrm>
            <a:prstGeom prst="arc">
              <a:avLst>
                <a:gd name="adj1" fmla="val 9480972"/>
                <a:gd name="adj2" fmla="val 15591368"/>
              </a:avLst>
            </a:prstGeom>
            <a:ln w="28575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0DB50C5-B5AB-03EC-F096-75444CFFCC52}"/>
                </a:ext>
              </a:extLst>
            </p:cNvPr>
            <p:cNvGrpSpPr/>
            <p:nvPr/>
          </p:nvGrpSpPr>
          <p:grpSpPr>
            <a:xfrm>
              <a:off x="4876390" y="2593066"/>
              <a:ext cx="1922187" cy="1922187"/>
              <a:chOff x="4876390" y="2593066"/>
              <a:chExt cx="1922187" cy="1922187"/>
            </a:xfrm>
          </p:grpSpPr>
          <p:sp>
            <p:nvSpPr>
              <p:cNvPr id="38" name="Arc 37">
                <a:extLst>
                  <a:ext uri="{FF2B5EF4-FFF2-40B4-BE49-F238E27FC236}">
                    <a16:creationId xmlns:a16="http://schemas.microsoft.com/office/drawing/2014/main" id="{FE67860E-A4E4-6CAC-E983-58DA954D6AC3}"/>
                  </a:ext>
                </a:extLst>
              </p:cNvPr>
              <p:cNvSpPr/>
              <p:nvPr/>
            </p:nvSpPr>
            <p:spPr>
              <a:xfrm>
                <a:off x="4876390" y="2593066"/>
                <a:ext cx="1922187" cy="1922187"/>
              </a:xfrm>
              <a:prstGeom prst="arc">
                <a:avLst>
                  <a:gd name="adj1" fmla="val 2537074"/>
                  <a:gd name="adj2" fmla="val 8362488"/>
                </a:avLst>
              </a:prstGeom>
              <a:ln w="28575">
                <a:solidFill>
                  <a:schemeClr val="bg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Arc 38">
                <a:extLst>
                  <a:ext uri="{FF2B5EF4-FFF2-40B4-BE49-F238E27FC236}">
                    <a16:creationId xmlns:a16="http://schemas.microsoft.com/office/drawing/2014/main" id="{12713229-3BE8-15E5-CE04-DF172482C821}"/>
                  </a:ext>
                </a:extLst>
              </p:cNvPr>
              <p:cNvSpPr/>
              <p:nvPr/>
            </p:nvSpPr>
            <p:spPr>
              <a:xfrm>
                <a:off x="4876390" y="2593066"/>
                <a:ext cx="1922187" cy="1922187"/>
              </a:xfrm>
              <a:prstGeom prst="arc">
                <a:avLst>
                  <a:gd name="adj1" fmla="val 16713557"/>
                  <a:gd name="adj2" fmla="val 1275993"/>
                </a:avLst>
              </a:prstGeom>
              <a:ln w="28575">
                <a:solidFill>
                  <a:schemeClr val="bg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4" name="Graphic 3">
            <a:extLst>
              <a:ext uri="{FF2B5EF4-FFF2-40B4-BE49-F238E27FC236}">
                <a16:creationId xmlns:a16="http://schemas.microsoft.com/office/drawing/2014/main" id="{4FF8E355-EA7D-92AA-1019-2378C147B6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84148" y="3033887"/>
            <a:ext cx="517399" cy="517399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F81C251E-09C9-D996-8931-9B775D1654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58305" y="3815122"/>
            <a:ext cx="517399" cy="517399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8AE14E97-B743-95E4-2CC3-1913970864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969527" y="3092393"/>
            <a:ext cx="517399" cy="517399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72C84F1-21AE-44DF-40B2-4C5DC0D70C94}"/>
              </a:ext>
            </a:extLst>
          </p:cNvPr>
          <p:cNvCxnSpPr>
            <a:cxnSpLocks/>
          </p:cNvCxnSpPr>
          <p:nvPr/>
        </p:nvCxnSpPr>
        <p:spPr>
          <a:xfrm flipH="1">
            <a:off x="1391968" y="2456933"/>
            <a:ext cx="469154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41850959-9B05-6F50-FAAB-A6CD65FB1A89}"/>
              </a:ext>
            </a:extLst>
          </p:cNvPr>
          <p:cNvSpPr txBox="1"/>
          <p:nvPr/>
        </p:nvSpPr>
        <p:spPr>
          <a:xfrm>
            <a:off x="7792769" y="1915614"/>
            <a:ext cx="252044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4"/>
              </a:buClr>
              <a:buSzPct val="141000"/>
            </a:pPr>
            <a:r>
              <a:rPr lang="en-US" sz="1600" dirty="0"/>
              <a:t>Create a dashboard to showcase visualisations and have interactive user experience.</a:t>
            </a:r>
          </a:p>
          <a:p>
            <a:pPr>
              <a:buClr>
                <a:schemeClr val="accent4"/>
              </a:buClr>
              <a:buSzPct val="141000"/>
            </a:pPr>
            <a:endParaRPr lang="en-AU" sz="16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363889B-7C19-E1F7-DCFB-063E21C1300A}"/>
              </a:ext>
            </a:extLst>
          </p:cNvPr>
          <p:cNvSpPr txBox="1"/>
          <p:nvPr/>
        </p:nvSpPr>
        <p:spPr>
          <a:xfrm>
            <a:off x="7792769" y="1380542"/>
            <a:ext cx="31261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1F2D68"/>
                </a:solidFill>
                <a:latin typeface="Arial" panose="020B0604020202020204"/>
              </a:rPr>
              <a:t>Dashboard Creation</a:t>
            </a:r>
            <a:endParaRPr kumimoji="0" lang="en-AU" sz="2400" b="1" i="0" u="none" strike="noStrike" kern="1200" cap="none" spc="0" normalizeH="0" baseline="0" noProof="0" dirty="0">
              <a:ln>
                <a:noFill/>
              </a:ln>
              <a:solidFill>
                <a:srgbClr val="1F2D6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8AA0E86-AD89-6CBB-D52A-5A85668BCD4E}"/>
              </a:ext>
            </a:extLst>
          </p:cNvPr>
          <p:cNvCxnSpPr>
            <a:cxnSpLocks/>
          </p:cNvCxnSpPr>
          <p:nvPr/>
        </p:nvCxnSpPr>
        <p:spPr>
          <a:xfrm flipH="1">
            <a:off x="7885131" y="1274679"/>
            <a:ext cx="469154" cy="0"/>
          </a:xfrm>
          <a:prstGeom prst="line">
            <a:avLst/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2B7D186A-8621-84C5-CABA-0F188BF9A75D}"/>
              </a:ext>
            </a:extLst>
          </p:cNvPr>
          <p:cNvSpPr txBox="1"/>
          <p:nvPr/>
        </p:nvSpPr>
        <p:spPr>
          <a:xfrm>
            <a:off x="7977494" y="5018021"/>
            <a:ext cx="252044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4"/>
              </a:buClr>
              <a:buSzPct val="141000"/>
            </a:pPr>
            <a:r>
              <a:rPr lang="en-AU" sz="1600" dirty="0"/>
              <a:t>Get proof of concept for what is possible, then connect with data analytics service</a:t>
            </a:r>
            <a:endParaRPr lang="en-US" sz="16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11EFBBB-5326-36EA-56EB-0DDAE286A2AD}"/>
              </a:ext>
            </a:extLst>
          </p:cNvPr>
          <p:cNvSpPr txBox="1"/>
          <p:nvPr/>
        </p:nvSpPr>
        <p:spPr>
          <a:xfrm>
            <a:off x="7835662" y="4147188"/>
            <a:ext cx="39592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1" i="0" u="none" strike="noStrike" kern="1200" cap="none" spc="0" normalizeH="0" baseline="0" noProof="0" dirty="0">
                <a:ln>
                  <a:noFill/>
                </a:ln>
                <a:solidFill>
                  <a:srgbClr val="1F2D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tablish Partnership With Analytics </a:t>
            </a:r>
            <a:r>
              <a:rPr lang="en-AU" sz="2400" b="1" dirty="0">
                <a:solidFill>
                  <a:srgbClr val="1F2D68"/>
                </a:solidFill>
                <a:latin typeface="Arial" panose="020B0604020202020204"/>
              </a:rPr>
              <a:t>V</a:t>
            </a:r>
            <a:r>
              <a:rPr kumimoji="0" lang="en-AU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1F2D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dor</a:t>
            </a:r>
            <a:endParaRPr kumimoji="0" lang="en-AU" sz="2400" b="1" i="0" u="none" strike="noStrike" kern="1200" cap="none" spc="0" normalizeH="0" baseline="0" noProof="0" dirty="0">
              <a:ln>
                <a:noFill/>
              </a:ln>
              <a:solidFill>
                <a:srgbClr val="1F2D6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93BC0D7-7D65-7E64-F101-F523E19B2BE6}"/>
              </a:ext>
            </a:extLst>
          </p:cNvPr>
          <p:cNvCxnSpPr>
            <a:cxnSpLocks/>
          </p:cNvCxnSpPr>
          <p:nvPr/>
        </p:nvCxnSpPr>
        <p:spPr>
          <a:xfrm flipH="1">
            <a:off x="7977494" y="4147188"/>
            <a:ext cx="469154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9345890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E2FFCD1-C3F5-3209-7DC2-057A593CFB0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3589272" y="3885872"/>
            <a:ext cx="2238090" cy="646331"/>
          </a:xfrm>
        </p:spPr>
        <p:txBody>
          <a:bodyPr/>
          <a:lstStyle/>
          <a:p>
            <a:pPr algn="ctr"/>
            <a:r>
              <a:rPr lang="en-US" dirty="0"/>
              <a:t>Analyse and conjure visualisations from public and given data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59C21B1-8FDF-77D8-C3F4-17F383394C0C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410435" y="3599799"/>
            <a:ext cx="2238090" cy="313932"/>
          </a:xfrm>
        </p:spPr>
        <p:txBody>
          <a:bodyPr/>
          <a:lstStyle/>
          <a:p>
            <a:pPr algn="ctr"/>
            <a:r>
              <a:rPr lang="en-AU" sz="1600" b="1" dirty="0">
                <a:latin typeface="+mj-lt"/>
              </a:rPr>
              <a:t>Step 03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710A399-9E75-4C1F-4FCD-40ADC3275F4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6410435" y="3885872"/>
            <a:ext cx="2238090" cy="646331"/>
          </a:xfrm>
        </p:spPr>
        <p:txBody>
          <a:bodyPr/>
          <a:lstStyle/>
          <a:p>
            <a:pPr algn="ctr"/>
            <a:r>
              <a:rPr lang="en-US" dirty="0"/>
              <a:t>Combining visualisations into an interactive, all encompassing medium.</a:t>
            </a:r>
          </a:p>
        </p:txBody>
      </p:sp>
      <p:pic>
        <p:nvPicPr>
          <p:cNvPr id="24" name="Picture Placeholder 23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9FF9FBC8-F3B8-58FC-59BF-B36C022E9DC5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50038" y="1581150"/>
            <a:ext cx="1758950" cy="1758950"/>
          </a:xfr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1A6D41F-65C4-6CF4-5548-075E903A40AB}"/>
              </a:ext>
            </a:extLst>
          </p:cNvPr>
          <p:cNvSpPr>
            <a:spLocks noGrp="1"/>
          </p:cNvSpPr>
          <p:nvPr>
            <p:ph type="body" idx="34"/>
          </p:nvPr>
        </p:nvSpPr>
        <p:spPr>
          <a:xfrm>
            <a:off x="720726" y="3602928"/>
            <a:ext cx="2238090" cy="313932"/>
          </a:xfrm>
        </p:spPr>
        <p:txBody>
          <a:bodyPr/>
          <a:lstStyle/>
          <a:p>
            <a:pPr algn="ctr"/>
            <a:r>
              <a:rPr lang="en-AU" sz="1600" b="1" dirty="0">
                <a:latin typeface="+mj-lt"/>
              </a:rPr>
              <a:t>Step 01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687A88E-EEE6-FDE0-9F7B-91CD8F033081}"/>
              </a:ext>
            </a:extLst>
          </p:cNvPr>
          <p:cNvSpPr>
            <a:spLocks noGrp="1"/>
          </p:cNvSpPr>
          <p:nvPr>
            <p:ph type="body" idx="35"/>
          </p:nvPr>
        </p:nvSpPr>
        <p:spPr>
          <a:xfrm>
            <a:off x="720726" y="3889001"/>
            <a:ext cx="2238090" cy="461665"/>
          </a:xfrm>
        </p:spPr>
        <p:txBody>
          <a:bodyPr/>
          <a:lstStyle/>
          <a:p>
            <a:pPr algn="ctr"/>
            <a:r>
              <a:rPr lang="en-US" dirty="0"/>
              <a:t>Create a medium to deliver the visualisation tools.</a:t>
            </a:r>
          </a:p>
        </p:txBody>
      </p:sp>
      <p:pic>
        <p:nvPicPr>
          <p:cNvPr id="3" name="Picture Placeholder 2" descr="A blue globe with a cursor&#10;&#10;Description automatically generated">
            <a:extLst>
              <a:ext uri="{FF2B5EF4-FFF2-40B4-BE49-F238E27FC236}">
                <a16:creationId xmlns:a16="http://schemas.microsoft.com/office/drawing/2014/main" id="{C36193D2-AEB2-BE34-247A-BC3D9FA24E65}"/>
              </a:ext>
            </a:extLst>
          </p:cNvPr>
          <p:cNvPicPr>
            <a:picLocks noGrp="1" noChangeAspect="1"/>
          </p:cNvPicPr>
          <p:nvPr>
            <p:ph type="pic" sz="quarter" idx="36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0438" y="1584325"/>
            <a:ext cx="1758950" cy="1758950"/>
          </a:xfrm>
        </p:spPr>
      </p:pic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9E0D9E3-0FE5-0ECF-172D-DAB1274061BD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9231598" y="3599799"/>
            <a:ext cx="2238090" cy="313932"/>
          </a:xfrm>
        </p:spPr>
        <p:txBody>
          <a:bodyPr/>
          <a:lstStyle/>
          <a:p>
            <a:pPr algn="ctr"/>
            <a:r>
              <a:rPr lang="en-AU" sz="1600" b="1" dirty="0">
                <a:latin typeface="+mj-lt"/>
              </a:rPr>
              <a:t>Step 04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58A8CB9-CE0B-BAFD-F7FB-D989764526D2}"/>
              </a:ext>
            </a:extLst>
          </p:cNvPr>
          <p:cNvSpPr>
            <a:spLocks noGrp="1"/>
          </p:cNvSpPr>
          <p:nvPr>
            <p:ph type="body" idx="44"/>
          </p:nvPr>
        </p:nvSpPr>
        <p:spPr>
          <a:xfrm>
            <a:off x="9231598" y="3885872"/>
            <a:ext cx="2238090" cy="461665"/>
          </a:xfrm>
        </p:spPr>
        <p:txBody>
          <a:bodyPr/>
          <a:lstStyle/>
          <a:p>
            <a:pPr algn="ctr"/>
            <a:r>
              <a:rPr lang="en-US" dirty="0"/>
              <a:t>Present and showcase final product</a:t>
            </a:r>
          </a:p>
        </p:txBody>
      </p:sp>
      <p:pic>
        <p:nvPicPr>
          <p:cNvPr id="30" name="Picture Placeholder 29" descr="A green box with a check mark and a check mark on it&#10;&#10;Description automatically generated">
            <a:extLst>
              <a:ext uri="{FF2B5EF4-FFF2-40B4-BE49-F238E27FC236}">
                <a16:creationId xmlns:a16="http://schemas.microsoft.com/office/drawing/2014/main" id="{034F9FF5-9DCA-8F30-BDD9-6C6485DD42C2}"/>
              </a:ext>
            </a:extLst>
          </p:cNvPr>
          <p:cNvPicPr>
            <a:picLocks noGrp="1" noChangeAspect="1"/>
          </p:cNvPicPr>
          <p:nvPr>
            <p:ph type="pic" sz="quarter" idx="4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471025" y="1581150"/>
            <a:ext cx="1758950" cy="1758950"/>
          </a:xfr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1F25ACEA-90D4-E7D4-16AD-1D99879DC5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2" y="608460"/>
            <a:ext cx="10747376" cy="535531"/>
          </a:xfrm>
        </p:spPr>
        <p:txBody>
          <a:bodyPr/>
          <a:lstStyle/>
          <a:p>
            <a:r>
              <a:rPr lang="en-AU" dirty="0"/>
              <a:t>Solution Pla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51D580-0BFA-FD02-BDBF-C38EDA3A9732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3589272" y="3599800"/>
            <a:ext cx="2238090" cy="313932"/>
          </a:xfrm>
        </p:spPr>
        <p:txBody>
          <a:bodyPr/>
          <a:lstStyle/>
          <a:p>
            <a:pPr algn="ctr"/>
            <a:r>
              <a:rPr lang="en-AU" sz="1600" b="1" dirty="0">
                <a:latin typeface="+mj-lt"/>
              </a:rPr>
              <a:t>Step 02</a:t>
            </a:r>
          </a:p>
        </p:txBody>
      </p:sp>
      <p:pic>
        <p:nvPicPr>
          <p:cNvPr id="28" name="Picture Placeholder 27" descr="A colorful graph with a line and a bar&#10;&#10;Description automatically generated with medium confidence">
            <a:extLst>
              <a:ext uri="{FF2B5EF4-FFF2-40B4-BE49-F238E27FC236}">
                <a16:creationId xmlns:a16="http://schemas.microsoft.com/office/drawing/2014/main" id="{CE2C029C-7656-AB26-A0F5-6A56426931D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" b="74"/>
          <a:stretch>
            <a:fillRect/>
          </a:stretch>
        </p:blipFill>
        <p:spPr>
          <a:xfrm>
            <a:off x="3878286" y="1623056"/>
            <a:ext cx="1663677" cy="1663680"/>
          </a:xfrm>
        </p:spPr>
      </p:pic>
    </p:spTree>
    <p:extLst>
      <p:ext uri="{BB962C8B-B14F-4D97-AF65-F5344CB8AC3E}">
        <p14:creationId xmlns:p14="http://schemas.microsoft.com/office/powerpoint/2010/main" val="265849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37D562-D738-294E-E0C0-8DEB73913C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Medium Selec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285D752-74FB-D7EB-2306-C43158B3A6FA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1282618" y="1930423"/>
            <a:ext cx="2858566" cy="313932"/>
          </a:xfrm>
        </p:spPr>
        <p:txBody>
          <a:bodyPr/>
          <a:lstStyle/>
          <a:p>
            <a:pPr algn="l"/>
            <a:r>
              <a:rPr lang="en-AU" sz="1600" dirty="0"/>
              <a:t>Web Application?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CACB99D-3AE8-BD72-4229-E99EE86E3647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1282618" y="2205888"/>
            <a:ext cx="2858566" cy="923090"/>
          </a:xfrm>
        </p:spPr>
        <p:txBody>
          <a:bodyPr/>
          <a:lstStyle/>
          <a:p>
            <a:pPr algn="l"/>
            <a:r>
              <a:rPr lang="en-AU" dirty="0"/>
              <a:t>Can be accessed easier, use basic web dev or python library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CF59BE9-D803-C411-DECD-3B1AA1EDA615}"/>
              </a:ext>
            </a:extLst>
          </p:cNvPr>
          <p:cNvSpPr>
            <a:spLocks noGrp="1"/>
          </p:cNvSpPr>
          <p:nvPr>
            <p:ph type="body" idx="34"/>
          </p:nvPr>
        </p:nvSpPr>
        <p:spPr>
          <a:xfrm>
            <a:off x="1282618" y="4115423"/>
            <a:ext cx="2858566" cy="313932"/>
          </a:xfrm>
        </p:spPr>
        <p:txBody>
          <a:bodyPr/>
          <a:lstStyle/>
          <a:p>
            <a:pPr algn="l"/>
            <a:r>
              <a:rPr lang="en-AU" sz="1600" dirty="0"/>
              <a:t>Desktop Application?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B39DA71-7FEE-0A90-2F36-33E8FE2EB011}"/>
              </a:ext>
            </a:extLst>
          </p:cNvPr>
          <p:cNvSpPr>
            <a:spLocks noGrp="1"/>
          </p:cNvSpPr>
          <p:nvPr>
            <p:ph type="body" idx="35"/>
          </p:nvPr>
        </p:nvSpPr>
        <p:spPr>
          <a:xfrm>
            <a:off x="1282618" y="4385587"/>
            <a:ext cx="2858566" cy="1044750"/>
          </a:xfrm>
        </p:spPr>
        <p:txBody>
          <a:bodyPr/>
          <a:lstStyle/>
          <a:p>
            <a:pPr algn="l"/>
            <a:r>
              <a:rPr lang="en-AU" dirty="0"/>
              <a:t>Use tkinter, for basic desktop applica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36D2189-5780-5BBA-E29C-B93EDD31CE25}"/>
              </a:ext>
            </a:extLst>
          </p:cNvPr>
          <p:cNvSpPr>
            <a:spLocks noGrp="1"/>
          </p:cNvSpPr>
          <p:nvPr>
            <p:ph type="body" idx="36"/>
          </p:nvPr>
        </p:nvSpPr>
        <p:spPr>
          <a:xfrm>
            <a:off x="4946870" y="1930423"/>
            <a:ext cx="2858566" cy="313932"/>
          </a:xfrm>
        </p:spPr>
        <p:txBody>
          <a:bodyPr/>
          <a:lstStyle/>
          <a:p>
            <a:pPr algn="l"/>
            <a:r>
              <a:rPr lang="en-AU" sz="1600" dirty="0"/>
              <a:t>Optimal for Project? 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D6A7FE2-59A4-35F8-1A9A-A790CD96C669}"/>
              </a:ext>
            </a:extLst>
          </p:cNvPr>
          <p:cNvSpPr>
            <a:spLocks noGrp="1"/>
          </p:cNvSpPr>
          <p:nvPr>
            <p:ph type="body" idx="37"/>
          </p:nvPr>
        </p:nvSpPr>
        <p:spPr>
          <a:xfrm>
            <a:off x="4946870" y="2205888"/>
            <a:ext cx="2858566" cy="923090"/>
          </a:xfrm>
        </p:spPr>
        <p:txBody>
          <a:bodyPr/>
          <a:lstStyle/>
          <a:p>
            <a:pPr algn="l"/>
            <a:r>
              <a:rPr lang="en-AU" dirty="0"/>
              <a:t>Yes, simple design capabilities, and very suitable in showcasing visualisations.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4AE01E8-2F1C-E0BD-BE63-18A6E522D261}"/>
              </a:ext>
            </a:extLst>
          </p:cNvPr>
          <p:cNvSpPr>
            <a:spLocks noGrp="1"/>
          </p:cNvSpPr>
          <p:nvPr>
            <p:ph type="body" idx="38"/>
          </p:nvPr>
        </p:nvSpPr>
        <p:spPr>
          <a:xfrm>
            <a:off x="4946870" y="4115423"/>
            <a:ext cx="2858566" cy="313932"/>
          </a:xfrm>
        </p:spPr>
        <p:txBody>
          <a:bodyPr/>
          <a:lstStyle/>
          <a:p>
            <a:pPr algn="l"/>
            <a:r>
              <a:rPr lang="en-AU" sz="1600" dirty="0"/>
              <a:t>Optimal for Project? 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AB6F2F7-B151-FBC9-3C89-AE593A7930E0}"/>
              </a:ext>
            </a:extLst>
          </p:cNvPr>
          <p:cNvSpPr>
            <a:spLocks noGrp="1"/>
          </p:cNvSpPr>
          <p:nvPr>
            <p:ph type="body" idx="39"/>
          </p:nvPr>
        </p:nvSpPr>
        <p:spPr>
          <a:xfrm>
            <a:off x="4946870" y="4385587"/>
            <a:ext cx="2858566" cy="1044750"/>
          </a:xfrm>
        </p:spPr>
        <p:txBody>
          <a:bodyPr/>
          <a:lstStyle/>
          <a:p>
            <a:pPr algn="l"/>
            <a:r>
              <a:rPr lang="en-AU" dirty="0"/>
              <a:t>Not exactly, possibly for future yes, but for purpose of generating proof of concept visualisations web application would be better suited.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C820DF8-CA4E-64AE-3B5C-1171BBED538C}"/>
              </a:ext>
            </a:extLst>
          </p:cNvPr>
          <p:cNvSpPr>
            <a:spLocks noGrp="1"/>
          </p:cNvSpPr>
          <p:nvPr>
            <p:ph type="body" idx="40"/>
          </p:nvPr>
        </p:nvSpPr>
        <p:spPr>
          <a:xfrm>
            <a:off x="8611122" y="1930423"/>
            <a:ext cx="2858566" cy="313932"/>
          </a:xfrm>
        </p:spPr>
        <p:txBody>
          <a:bodyPr/>
          <a:lstStyle/>
          <a:p>
            <a:pPr algn="l"/>
            <a:r>
              <a:rPr lang="en-AU" sz="1600" dirty="0"/>
              <a:t>Difficulty?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B026F98-7CAE-1C5F-CC6E-22263225B277}"/>
              </a:ext>
            </a:extLst>
          </p:cNvPr>
          <p:cNvSpPr>
            <a:spLocks noGrp="1"/>
          </p:cNvSpPr>
          <p:nvPr>
            <p:ph type="body" idx="41"/>
          </p:nvPr>
        </p:nvSpPr>
        <p:spPr>
          <a:xfrm>
            <a:off x="8611122" y="2205888"/>
            <a:ext cx="2858566" cy="923090"/>
          </a:xfrm>
        </p:spPr>
        <p:txBody>
          <a:bodyPr/>
          <a:lstStyle/>
          <a:p>
            <a:pPr algn="l"/>
            <a:r>
              <a:rPr lang="en-AU" dirty="0"/>
              <a:t>Moderate, can bypass lower-level web development code (HTML, JS &amp; CSS) using python library, to focus on delivering visualisations than website.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CBF96B1-9B27-EE96-CEC1-CCE6EFA1225F}"/>
              </a:ext>
            </a:extLst>
          </p:cNvPr>
          <p:cNvSpPr>
            <a:spLocks noGrp="1"/>
          </p:cNvSpPr>
          <p:nvPr>
            <p:ph type="body" idx="42"/>
          </p:nvPr>
        </p:nvSpPr>
        <p:spPr>
          <a:xfrm>
            <a:off x="8611122" y="4115423"/>
            <a:ext cx="2858566" cy="313932"/>
          </a:xfrm>
        </p:spPr>
        <p:txBody>
          <a:bodyPr/>
          <a:lstStyle/>
          <a:p>
            <a:pPr algn="l"/>
            <a:r>
              <a:rPr lang="en-AU" sz="1600" dirty="0"/>
              <a:t>Difficulty? 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E91F1D6-94E7-7CB0-E1B7-A3662F22D3C0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8611122" y="4385587"/>
            <a:ext cx="2858566" cy="1044750"/>
          </a:xfrm>
        </p:spPr>
        <p:txBody>
          <a:bodyPr/>
          <a:lstStyle/>
          <a:p>
            <a:pPr algn="l"/>
            <a:r>
              <a:rPr lang="en-AU" dirty="0"/>
              <a:t>Moderately hard, requires complex software design, interactivity and understanding of tkinter.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3A21FD2-439A-C6BB-F436-1C5430D8B888}"/>
              </a:ext>
            </a:extLst>
          </p:cNvPr>
          <p:cNvGrpSpPr/>
          <p:nvPr/>
        </p:nvGrpSpPr>
        <p:grpSpPr>
          <a:xfrm>
            <a:off x="850122" y="1912763"/>
            <a:ext cx="340136" cy="340136"/>
            <a:chOff x="1402939" y="5065431"/>
            <a:chExt cx="340136" cy="340136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255F0209-4358-BC3C-CF91-E01D4655ED23}"/>
                </a:ext>
              </a:extLst>
            </p:cNvPr>
            <p:cNvSpPr/>
            <p:nvPr/>
          </p:nvSpPr>
          <p:spPr>
            <a:xfrm>
              <a:off x="1402939" y="5065431"/>
              <a:ext cx="340136" cy="34013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0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" name="Graphic 8">
              <a:extLst>
                <a:ext uri="{FF2B5EF4-FFF2-40B4-BE49-F238E27FC236}">
                  <a16:creationId xmlns:a16="http://schemas.microsoft.com/office/drawing/2014/main" id="{5EFED31E-CB8E-4E59-2516-799DAD7EA60D}"/>
                </a:ext>
              </a:extLst>
            </p:cNvPr>
            <p:cNvSpPr/>
            <p:nvPr/>
          </p:nvSpPr>
          <p:spPr>
            <a:xfrm>
              <a:off x="1475321" y="5133395"/>
              <a:ext cx="195370" cy="204212"/>
            </a:xfrm>
            <a:custGeom>
              <a:avLst/>
              <a:gdLst>
                <a:gd name="connsiteX0" fmla="*/ 3654933 w 3729800"/>
                <a:gd name="connsiteY0" fmla="*/ 1767268 h 3898677"/>
                <a:gd name="connsiteX1" fmla="*/ 1962531 w 3729800"/>
                <a:gd name="connsiteY1" fmla="*/ 74867 h 3898677"/>
                <a:gd name="connsiteX2" fmla="*/ 1781175 w 3729800"/>
                <a:gd name="connsiteY2" fmla="*/ 0 h 3898677"/>
                <a:gd name="connsiteX3" fmla="*/ 1599819 w 3729800"/>
                <a:gd name="connsiteY3" fmla="*/ 74867 h 3898677"/>
                <a:gd name="connsiteX4" fmla="*/ 1446181 w 3729800"/>
                <a:gd name="connsiteY4" fmla="*/ 228600 h 3898677"/>
                <a:gd name="connsiteX5" fmla="*/ 1371314 w 3729800"/>
                <a:gd name="connsiteY5" fmla="*/ 409956 h 3898677"/>
                <a:gd name="connsiteX6" fmla="*/ 1446181 w 3729800"/>
                <a:gd name="connsiteY6" fmla="*/ 593408 h 3898677"/>
                <a:gd name="connsiteX7" fmla="*/ 2433542 w 3729800"/>
                <a:gd name="connsiteY7" fmla="*/ 1582864 h 3898677"/>
                <a:gd name="connsiteX8" fmla="*/ 253175 w 3729800"/>
                <a:gd name="connsiteY8" fmla="*/ 1582864 h 3898677"/>
                <a:gd name="connsiteX9" fmla="*/ 0 w 3729800"/>
                <a:gd name="connsiteY9" fmla="*/ 1835087 h 3898677"/>
                <a:gd name="connsiteX10" fmla="*/ 0 w 3729800"/>
                <a:gd name="connsiteY10" fmla="*/ 2052352 h 3898677"/>
                <a:gd name="connsiteX11" fmla="*/ 253175 w 3729800"/>
                <a:gd name="connsiteY11" fmla="*/ 2315718 h 3898677"/>
                <a:gd name="connsiteX12" fmla="*/ 2444687 w 3729800"/>
                <a:gd name="connsiteY12" fmla="*/ 2315718 h 3898677"/>
                <a:gd name="connsiteX13" fmla="*/ 1446181 w 3729800"/>
                <a:gd name="connsiteY13" fmla="*/ 3310699 h 3898677"/>
                <a:gd name="connsiteX14" fmla="*/ 1371314 w 3729800"/>
                <a:gd name="connsiteY14" fmla="*/ 3490341 h 3898677"/>
                <a:gd name="connsiteX15" fmla="*/ 1446181 w 3729800"/>
                <a:gd name="connsiteY15" fmla="*/ 3670840 h 3898677"/>
                <a:gd name="connsiteX16" fmla="*/ 1599819 w 3729800"/>
                <a:gd name="connsiteY16" fmla="*/ 3824002 h 3898677"/>
                <a:gd name="connsiteX17" fmla="*/ 1781175 w 3729800"/>
                <a:gd name="connsiteY17" fmla="*/ 3898678 h 3898677"/>
                <a:gd name="connsiteX18" fmla="*/ 1962531 w 3729800"/>
                <a:gd name="connsiteY18" fmla="*/ 3823716 h 3898677"/>
                <a:gd name="connsiteX19" fmla="*/ 3654933 w 3729800"/>
                <a:gd name="connsiteY19" fmla="*/ 2131314 h 3898677"/>
                <a:gd name="connsiteX20" fmla="*/ 3729799 w 3729800"/>
                <a:gd name="connsiteY20" fmla="*/ 1949387 h 3898677"/>
                <a:gd name="connsiteX21" fmla="*/ 3654933 w 3729800"/>
                <a:gd name="connsiteY21" fmla="*/ 1767268 h 389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729800" h="3898677">
                  <a:moveTo>
                    <a:pt x="3654933" y="1767268"/>
                  </a:moveTo>
                  <a:lnTo>
                    <a:pt x="1962531" y="74867"/>
                  </a:lnTo>
                  <a:cubicBezTo>
                    <a:pt x="1914239" y="26575"/>
                    <a:pt x="1849850" y="0"/>
                    <a:pt x="1781175" y="0"/>
                  </a:cubicBezTo>
                  <a:cubicBezTo>
                    <a:pt x="1712500" y="0"/>
                    <a:pt x="1648111" y="26575"/>
                    <a:pt x="1599819" y="74867"/>
                  </a:cubicBezTo>
                  <a:lnTo>
                    <a:pt x="1446181" y="228600"/>
                  </a:lnTo>
                  <a:cubicBezTo>
                    <a:pt x="1397889" y="276797"/>
                    <a:pt x="1371314" y="341281"/>
                    <a:pt x="1371314" y="409956"/>
                  </a:cubicBezTo>
                  <a:cubicBezTo>
                    <a:pt x="1371314" y="478631"/>
                    <a:pt x="1397889" y="545211"/>
                    <a:pt x="1446181" y="593408"/>
                  </a:cubicBezTo>
                  <a:lnTo>
                    <a:pt x="2433542" y="1582864"/>
                  </a:lnTo>
                  <a:lnTo>
                    <a:pt x="253175" y="1582864"/>
                  </a:lnTo>
                  <a:cubicBezTo>
                    <a:pt x="111728" y="1582864"/>
                    <a:pt x="0" y="1693545"/>
                    <a:pt x="0" y="1835087"/>
                  </a:cubicBezTo>
                  <a:lnTo>
                    <a:pt x="0" y="2052352"/>
                  </a:lnTo>
                  <a:cubicBezTo>
                    <a:pt x="0" y="2193798"/>
                    <a:pt x="111728" y="2315718"/>
                    <a:pt x="253175" y="2315718"/>
                  </a:cubicBezTo>
                  <a:lnTo>
                    <a:pt x="2444687" y="2315718"/>
                  </a:lnTo>
                  <a:lnTo>
                    <a:pt x="1446181" y="3310699"/>
                  </a:lnTo>
                  <a:cubicBezTo>
                    <a:pt x="1397889" y="3358991"/>
                    <a:pt x="1371314" y="3421666"/>
                    <a:pt x="1371314" y="3490341"/>
                  </a:cubicBezTo>
                  <a:cubicBezTo>
                    <a:pt x="1371314" y="3559016"/>
                    <a:pt x="1397889" y="3622548"/>
                    <a:pt x="1446181" y="3670840"/>
                  </a:cubicBezTo>
                  <a:lnTo>
                    <a:pt x="1599819" y="3824002"/>
                  </a:lnTo>
                  <a:cubicBezTo>
                    <a:pt x="1648111" y="3872294"/>
                    <a:pt x="1712500" y="3898678"/>
                    <a:pt x="1781175" y="3898678"/>
                  </a:cubicBezTo>
                  <a:cubicBezTo>
                    <a:pt x="1849850" y="3898678"/>
                    <a:pt x="1914239" y="3872008"/>
                    <a:pt x="1962531" y="3823716"/>
                  </a:cubicBezTo>
                  <a:lnTo>
                    <a:pt x="3654933" y="2131314"/>
                  </a:lnTo>
                  <a:cubicBezTo>
                    <a:pt x="3703320" y="2082832"/>
                    <a:pt x="3729990" y="2018157"/>
                    <a:pt x="3729799" y="1949387"/>
                  </a:cubicBezTo>
                  <a:cubicBezTo>
                    <a:pt x="3729990" y="1880426"/>
                    <a:pt x="3703320" y="1815656"/>
                    <a:pt x="3654933" y="1767268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07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217A949-5ED5-2FBE-A1BF-F4038E281020}"/>
              </a:ext>
            </a:extLst>
          </p:cNvPr>
          <p:cNvGrpSpPr/>
          <p:nvPr/>
        </p:nvGrpSpPr>
        <p:grpSpPr>
          <a:xfrm>
            <a:off x="850122" y="4064835"/>
            <a:ext cx="340136" cy="340136"/>
            <a:chOff x="1402939" y="5065431"/>
            <a:chExt cx="340136" cy="34013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462F85DA-98FD-4F4A-C292-60DEBEF44049}"/>
                </a:ext>
              </a:extLst>
            </p:cNvPr>
            <p:cNvSpPr/>
            <p:nvPr/>
          </p:nvSpPr>
          <p:spPr>
            <a:xfrm>
              <a:off x="1402939" y="5065431"/>
              <a:ext cx="340136" cy="34013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0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" name="Graphic 8">
              <a:extLst>
                <a:ext uri="{FF2B5EF4-FFF2-40B4-BE49-F238E27FC236}">
                  <a16:creationId xmlns:a16="http://schemas.microsoft.com/office/drawing/2014/main" id="{A3F91233-6A7D-0250-8283-B38A3F01A00D}"/>
                </a:ext>
              </a:extLst>
            </p:cNvPr>
            <p:cNvSpPr/>
            <p:nvPr/>
          </p:nvSpPr>
          <p:spPr>
            <a:xfrm>
              <a:off x="1475321" y="5133395"/>
              <a:ext cx="195370" cy="204212"/>
            </a:xfrm>
            <a:custGeom>
              <a:avLst/>
              <a:gdLst>
                <a:gd name="connsiteX0" fmla="*/ 3654933 w 3729800"/>
                <a:gd name="connsiteY0" fmla="*/ 1767268 h 3898677"/>
                <a:gd name="connsiteX1" fmla="*/ 1962531 w 3729800"/>
                <a:gd name="connsiteY1" fmla="*/ 74867 h 3898677"/>
                <a:gd name="connsiteX2" fmla="*/ 1781175 w 3729800"/>
                <a:gd name="connsiteY2" fmla="*/ 0 h 3898677"/>
                <a:gd name="connsiteX3" fmla="*/ 1599819 w 3729800"/>
                <a:gd name="connsiteY3" fmla="*/ 74867 h 3898677"/>
                <a:gd name="connsiteX4" fmla="*/ 1446181 w 3729800"/>
                <a:gd name="connsiteY4" fmla="*/ 228600 h 3898677"/>
                <a:gd name="connsiteX5" fmla="*/ 1371314 w 3729800"/>
                <a:gd name="connsiteY5" fmla="*/ 409956 h 3898677"/>
                <a:gd name="connsiteX6" fmla="*/ 1446181 w 3729800"/>
                <a:gd name="connsiteY6" fmla="*/ 593408 h 3898677"/>
                <a:gd name="connsiteX7" fmla="*/ 2433542 w 3729800"/>
                <a:gd name="connsiteY7" fmla="*/ 1582864 h 3898677"/>
                <a:gd name="connsiteX8" fmla="*/ 253175 w 3729800"/>
                <a:gd name="connsiteY8" fmla="*/ 1582864 h 3898677"/>
                <a:gd name="connsiteX9" fmla="*/ 0 w 3729800"/>
                <a:gd name="connsiteY9" fmla="*/ 1835087 h 3898677"/>
                <a:gd name="connsiteX10" fmla="*/ 0 w 3729800"/>
                <a:gd name="connsiteY10" fmla="*/ 2052352 h 3898677"/>
                <a:gd name="connsiteX11" fmla="*/ 253175 w 3729800"/>
                <a:gd name="connsiteY11" fmla="*/ 2315718 h 3898677"/>
                <a:gd name="connsiteX12" fmla="*/ 2444687 w 3729800"/>
                <a:gd name="connsiteY12" fmla="*/ 2315718 h 3898677"/>
                <a:gd name="connsiteX13" fmla="*/ 1446181 w 3729800"/>
                <a:gd name="connsiteY13" fmla="*/ 3310699 h 3898677"/>
                <a:gd name="connsiteX14" fmla="*/ 1371314 w 3729800"/>
                <a:gd name="connsiteY14" fmla="*/ 3490341 h 3898677"/>
                <a:gd name="connsiteX15" fmla="*/ 1446181 w 3729800"/>
                <a:gd name="connsiteY15" fmla="*/ 3670840 h 3898677"/>
                <a:gd name="connsiteX16" fmla="*/ 1599819 w 3729800"/>
                <a:gd name="connsiteY16" fmla="*/ 3824002 h 3898677"/>
                <a:gd name="connsiteX17" fmla="*/ 1781175 w 3729800"/>
                <a:gd name="connsiteY17" fmla="*/ 3898678 h 3898677"/>
                <a:gd name="connsiteX18" fmla="*/ 1962531 w 3729800"/>
                <a:gd name="connsiteY18" fmla="*/ 3823716 h 3898677"/>
                <a:gd name="connsiteX19" fmla="*/ 3654933 w 3729800"/>
                <a:gd name="connsiteY19" fmla="*/ 2131314 h 3898677"/>
                <a:gd name="connsiteX20" fmla="*/ 3729799 w 3729800"/>
                <a:gd name="connsiteY20" fmla="*/ 1949387 h 3898677"/>
                <a:gd name="connsiteX21" fmla="*/ 3654933 w 3729800"/>
                <a:gd name="connsiteY21" fmla="*/ 1767268 h 389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729800" h="3898677">
                  <a:moveTo>
                    <a:pt x="3654933" y="1767268"/>
                  </a:moveTo>
                  <a:lnTo>
                    <a:pt x="1962531" y="74867"/>
                  </a:lnTo>
                  <a:cubicBezTo>
                    <a:pt x="1914239" y="26575"/>
                    <a:pt x="1849850" y="0"/>
                    <a:pt x="1781175" y="0"/>
                  </a:cubicBezTo>
                  <a:cubicBezTo>
                    <a:pt x="1712500" y="0"/>
                    <a:pt x="1648111" y="26575"/>
                    <a:pt x="1599819" y="74867"/>
                  </a:cubicBezTo>
                  <a:lnTo>
                    <a:pt x="1446181" y="228600"/>
                  </a:lnTo>
                  <a:cubicBezTo>
                    <a:pt x="1397889" y="276797"/>
                    <a:pt x="1371314" y="341281"/>
                    <a:pt x="1371314" y="409956"/>
                  </a:cubicBezTo>
                  <a:cubicBezTo>
                    <a:pt x="1371314" y="478631"/>
                    <a:pt x="1397889" y="545211"/>
                    <a:pt x="1446181" y="593408"/>
                  </a:cubicBezTo>
                  <a:lnTo>
                    <a:pt x="2433542" y="1582864"/>
                  </a:lnTo>
                  <a:lnTo>
                    <a:pt x="253175" y="1582864"/>
                  </a:lnTo>
                  <a:cubicBezTo>
                    <a:pt x="111728" y="1582864"/>
                    <a:pt x="0" y="1693545"/>
                    <a:pt x="0" y="1835087"/>
                  </a:cubicBezTo>
                  <a:lnTo>
                    <a:pt x="0" y="2052352"/>
                  </a:lnTo>
                  <a:cubicBezTo>
                    <a:pt x="0" y="2193798"/>
                    <a:pt x="111728" y="2315718"/>
                    <a:pt x="253175" y="2315718"/>
                  </a:cubicBezTo>
                  <a:lnTo>
                    <a:pt x="2444687" y="2315718"/>
                  </a:lnTo>
                  <a:lnTo>
                    <a:pt x="1446181" y="3310699"/>
                  </a:lnTo>
                  <a:cubicBezTo>
                    <a:pt x="1397889" y="3358991"/>
                    <a:pt x="1371314" y="3421666"/>
                    <a:pt x="1371314" y="3490341"/>
                  </a:cubicBezTo>
                  <a:cubicBezTo>
                    <a:pt x="1371314" y="3559016"/>
                    <a:pt x="1397889" y="3622548"/>
                    <a:pt x="1446181" y="3670840"/>
                  </a:cubicBezTo>
                  <a:lnTo>
                    <a:pt x="1599819" y="3824002"/>
                  </a:lnTo>
                  <a:cubicBezTo>
                    <a:pt x="1648111" y="3872294"/>
                    <a:pt x="1712500" y="3898678"/>
                    <a:pt x="1781175" y="3898678"/>
                  </a:cubicBezTo>
                  <a:cubicBezTo>
                    <a:pt x="1849850" y="3898678"/>
                    <a:pt x="1914239" y="3872008"/>
                    <a:pt x="1962531" y="3823716"/>
                  </a:cubicBezTo>
                  <a:lnTo>
                    <a:pt x="3654933" y="2131314"/>
                  </a:lnTo>
                  <a:cubicBezTo>
                    <a:pt x="3703320" y="2082832"/>
                    <a:pt x="3729990" y="2018157"/>
                    <a:pt x="3729799" y="1949387"/>
                  </a:cubicBezTo>
                  <a:cubicBezTo>
                    <a:pt x="3729990" y="1880426"/>
                    <a:pt x="3703320" y="1815656"/>
                    <a:pt x="3654933" y="1767268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07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2C8B324-A510-60C9-9405-0AC6FB558D59}"/>
              </a:ext>
            </a:extLst>
          </p:cNvPr>
          <p:cNvGrpSpPr/>
          <p:nvPr/>
        </p:nvGrpSpPr>
        <p:grpSpPr>
          <a:xfrm>
            <a:off x="4514374" y="1912763"/>
            <a:ext cx="340136" cy="340136"/>
            <a:chOff x="1402939" y="5065431"/>
            <a:chExt cx="340136" cy="340136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C987070F-86B3-2C8B-C2FA-B9BF9A9A555D}"/>
                </a:ext>
              </a:extLst>
            </p:cNvPr>
            <p:cNvSpPr/>
            <p:nvPr/>
          </p:nvSpPr>
          <p:spPr>
            <a:xfrm>
              <a:off x="1402939" y="5065431"/>
              <a:ext cx="340136" cy="34013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0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Graphic 8">
              <a:extLst>
                <a:ext uri="{FF2B5EF4-FFF2-40B4-BE49-F238E27FC236}">
                  <a16:creationId xmlns:a16="http://schemas.microsoft.com/office/drawing/2014/main" id="{9FD66138-940D-D36B-0379-E9D1A824A06E}"/>
                </a:ext>
              </a:extLst>
            </p:cNvPr>
            <p:cNvSpPr/>
            <p:nvPr/>
          </p:nvSpPr>
          <p:spPr>
            <a:xfrm>
              <a:off x="1475321" y="5133395"/>
              <a:ext cx="195370" cy="204212"/>
            </a:xfrm>
            <a:custGeom>
              <a:avLst/>
              <a:gdLst>
                <a:gd name="connsiteX0" fmla="*/ 3654933 w 3729800"/>
                <a:gd name="connsiteY0" fmla="*/ 1767268 h 3898677"/>
                <a:gd name="connsiteX1" fmla="*/ 1962531 w 3729800"/>
                <a:gd name="connsiteY1" fmla="*/ 74867 h 3898677"/>
                <a:gd name="connsiteX2" fmla="*/ 1781175 w 3729800"/>
                <a:gd name="connsiteY2" fmla="*/ 0 h 3898677"/>
                <a:gd name="connsiteX3" fmla="*/ 1599819 w 3729800"/>
                <a:gd name="connsiteY3" fmla="*/ 74867 h 3898677"/>
                <a:gd name="connsiteX4" fmla="*/ 1446181 w 3729800"/>
                <a:gd name="connsiteY4" fmla="*/ 228600 h 3898677"/>
                <a:gd name="connsiteX5" fmla="*/ 1371314 w 3729800"/>
                <a:gd name="connsiteY5" fmla="*/ 409956 h 3898677"/>
                <a:gd name="connsiteX6" fmla="*/ 1446181 w 3729800"/>
                <a:gd name="connsiteY6" fmla="*/ 593408 h 3898677"/>
                <a:gd name="connsiteX7" fmla="*/ 2433542 w 3729800"/>
                <a:gd name="connsiteY7" fmla="*/ 1582864 h 3898677"/>
                <a:gd name="connsiteX8" fmla="*/ 253175 w 3729800"/>
                <a:gd name="connsiteY8" fmla="*/ 1582864 h 3898677"/>
                <a:gd name="connsiteX9" fmla="*/ 0 w 3729800"/>
                <a:gd name="connsiteY9" fmla="*/ 1835087 h 3898677"/>
                <a:gd name="connsiteX10" fmla="*/ 0 w 3729800"/>
                <a:gd name="connsiteY10" fmla="*/ 2052352 h 3898677"/>
                <a:gd name="connsiteX11" fmla="*/ 253175 w 3729800"/>
                <a:gd name="connsiteY11" fmla="*/ 2315718 h 3898677"/>
                <a:gd name="connsiteX12" fmla="*/ 2444687 w 3729800"/>
                <a:gd name="connsiteY12" fmla="*/ 2315718 h 3898677"/>
                <a:gd name="connsiteX13" fmla="*/ 1446181 w 3729800"/>
                <a:gd name="connsiteY13" fmla="*/ 3310699 h 3898677"/>
                <a:gd name="connsiteX14" fmla="*/ 1371314 w 3729800"/>
                <a:gd name="connsiteY14" fmla="*/ 3490341 h 3898677"/>
                <a:gd name="connsiteX15" fmla="*/ 1446181 w 3729800"/>
                <a:gd name="connsiteY15" fmla="*/ 3670840 h 3898677"/>
                <a:gd name="connsiteX16" fmla="*/ 1599819 w 3729800"/>
                <a:gd name="connsiteY16" fmla="*/ 3824002 h 3898677"/>
                <a:gd name="connsiteX17" fmla="*/ 1781175 w 3729800"/>
                <a:gd name="connsiteY17" fmla="*/ 3898678 h 3898677"/>
                <a:gd name="connsiteX18" fmla="*/ 1962531 w 3729800"/>
                <a:gd name="connsiteY18" fmla="*/ 3823716 h 3898677"/>
                <a:gd name="connsiteX19" fmla="*/ 3654933 w 3729800"/>
                <a:gd name="connsiteY19" fmla="*/ 2131314 h 3898677"/>
                <a:gd name="connsiteX20" fmla="*/ 3729799 w 3729800"/>
                <a:gd name="connsiteY20" fmla="*/ 1949387 h 3898677"/>
                <a:gd name="connsiteX21" fmla="*/ 3654933 w 3729800"/>
                <a:gd name="connsiteY21" fmla="*/ 1767268 h 389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729800" h="3898677">
                  <a:moveTo>
                    <a:pt x="3654933" y="1767268"/>
                  </a:moveTo>
                  <a:lnTo>
                    <a:pt x="1962531" y="74867"/>
                  </a:lnTo>
                  <a:cubicBezTo>
                    <a:pt x="1914239" y="26575"/>
                    <a:pt x="1849850" y="0"/>
                    <a:pt x="1781175" y="0"/>
                  </a:cubicBezTo>
                  <a:cubicBezTo>
                    <a:pt x="1712500" y="0"/>
                    <a:pt x="1648111" y="26575"/>
                    <a:pt x="1599819" y="74867"/>
                  </a:cubicBezTo>
                  <a:lnTo>
                    <a:pt x="1446181" y="228600"/>
                  </a:lnTo>
                  <a:cubicBezTo>
                    <a:pt x="1397889" y="276797"/>
                    <a:pt x="1371314" y="341281"/>
                    <a:pt x="1371314" y="409956"/>
                  </a:cubicBezTo>
                  <a:cubicBezTo>
                    <a:pt x="1371314" y="478631"/>
                    <a:pt x="1397889" y="545211"/>
                    <a:pt x="1446181" y="593408"/>
                  </a:cubicBezTo>
                  <a:lnTo>
                    <a:pt x="2433542" y="1582864"/>
                  </a:lnTo>
                  <a:lnTo>
                    <a:pt x="253175" y="1582864"/>
                  </a:lnTo>
                  <a:cubicBezTo>
                    <a:pt x="111728" y="1582864"/>
                    <a:pt x="0" y="1693545"/>
                    <a:pt x="0" y="1835087"/>
                  </a:cubicBezTo>
                  <a:lnTo>
                    <a:pt x="0" y="2052352"/>
                  </a:lnTo>
                  <a:cubicBezTo>
                    <a:pt x="0" y="2193798"/>
                    <a:pt x="111728" y="2315718"/>
                    <a:pt x="253175" y="2315718"/>
                  </a:cubicBezTo>
                  <a:lnTo>
                    <a:pt x="2444687" y="2315718"/>
                  </a:lnTo>
                  <a:lnTo>
                    <a:pt x="1446181" y="3310699"/>
                  </a:lnTo>
                  <a:cubicBezTo>
                    <a:pt x="1397889" y="3358991"/>
                    <a:pt x="1371314" y="3421666"/>
                    <a:pt x="1371314" y="3490341"/>
                  </a:cubicBezTo>
                  <a:cubicBezTo>
                    <a:pt x="1371314" y="3559016"/>
                    <a:pt x="1397889" y="3622548"/>
                    <a:pt x="1446181" y="3670840"/>
                  </a:cubicBezTo>
                  <a:lnTo>
                    <a:pt x="1599819" y="3824002"/>
                  </a:lnTo>
                  <a:cubicBezTo>
                    <a:pt x="1648111" y="3872294"/>
                    <a:pt x="1712500" y="3898678"/>
                    <a:pt x="1781175" y="3898678"/>
                  </a:cubicBezTo>
                  <a:cubicBezTo>
                    <a:pt x="1849850" y="3898678"/>
                    <a:pt x="1914239" y="3872008"/>
                    <a:pt x="1962531" y="3823716"/>
                  </a:cubicBezTo>
                  <a:lnTo>
                    <a:pt x="3654933" y="2131314"/>
                  </a:lnTo>
                  <a:cubicBezTo>
                    <a:pt x="3703320" y="2082832"/>
                    <a:pt x="3729990" y="2018157"/>
                    <a:pt x="3729799" y="1949387"/>
                  </a:cubicBezTo>
                  <a:cubicBezTo>
                    <a:pt x="3729990" y="1880426"/>
                    <a:pt x="3703320" y="1815656"/>
                    <a:pt x="3654933" y="1767268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07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7733690-6DC3-45AA-591F-7606D944FE17}"/>
              </a:ext>
            </a:extLst>
          </p:cNvPr>
          <p:cNvGrpSpPr/>
          <p:nvPr/>
        </p:nvGrpSpPr>
        <p:grpSpPr>
          <a:xfrm>
            <a:off x="4514374" y="4064835"/>
            <a:ext cx="340136" cy="340136"/>
            <a:chOff x="1402939" y="5065431"/>
            <a:chExt cx="340136" cy="34013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338EC249-C2F5-8CFA-FB5A-84F1C7B8E7F0}"/>
                </a:ext>
              </a:extLst>
            </p:cNvPr>
            <p:cNvSpPr/>
            <p:nvPr/>
          </p:nvSpPr>
          <p:spPr>
            <a:xfrm>
              <a:off x="1402939" y="5065431"/>
              <a:ext cx="340136" cy="34013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0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Graphic 8">
              <a:extLst>
                <a:ext uri="{FF2B5EF4-FFF2-40B4-BE49-F238E27FC236}">
                  <a16:creationId xmlns:a16="http://schemas.microsoft.com/office/drawing/2014/main" id="{E5215DE3-0511-87F2-A66C-461AC0B89D80}"/>
                </a:ext>
              </a:extLst>
            </p:cNvPr>
            <p:cNvSpPr/>
            <p:nvPr/>
          </p:nvSpPr>
          <p:spPr>
            <a:xfrm>
              <a:off x="1475321" y="5133395"/>
              <a:ext cx="195370" cy="204212"/>
            </a:xfrm>
            <a:custGeom>
              <a:avLst/>
              <a:gdLst>
                <a:gd name="connsiteX0" fmla="*/ 3654933 w 3729800"/>
                <a:gd name="connsiteY0" fmla="*/ 1767268 h 3898677"/>
                <a:gd name="connsiteX1" fmla="*/ 1962531 w 3729800"/>
                <a:gd name="connsiteY1" fmla="*/ 74867 h 3898677"/>
                <a:gd name="connsiteX2" fmla="*/ 1781175 w 3729800"/>
                <a:gd name="connsiteY2" fmla="*/ 0 h 3898677"/>
                <a:gd name="connsiteX3" fmla="*/ 1599819 w 3729800"/>
                <a:gd name="connsiteY3" fmla="*/ 74867 h 3898677"/>
                <a:gd name="connsiteX4" fmla="*/ 1446181 w 3729800"/>
                <a:gd name="connsiteY4" fmla="*/ 228600 h 3898677"/>
                <a:gd name="connsiteX5" fmla="*/ 1371314 w 3729800"/>
                <a:gd name="connsiteY5" fmla="*/ 409956 h 3898677"/>
                <a:gd name="connsiteX6" fmla="*/ 1446181 w 3729800"/>
                <a:gd name="connsiteY6" fmla="*/ 593408 h 3898677"/>
                <a:gd name="connsiteX7" fmla="*/ 2433542 w 3729800"/>
                <a:gd name="connsiteY7" fmla="*/ 1582864 h 3898677"/>
                <a:gd name="connsiteX8" fmla="*/ 253175 w 3729800"/>
                <a:gd name="connsiteY8" fmla="*/ 1582864 h 3898677"/>
                <a:gd name="connsiteX9" fmla="*/ 0 w 3729800"/>
                <a:gd name="connsiteY9" fmla="*/ 1835087 h 3898677"/>
                <a:gd name="connsiteX10" fmla="*/ 0 w 3729800"/>
                <a:gd name="connsiteY10" fmla="*/ 2052352 h 3898677"/>
                <a:gd name="connsiteX11" fmla="*/ 253175 w 3729800"/>
                <a:gd name="connsiteY11" fmla="*/ 2315718 h 3898677"/>
                <a:gd name="connsiteX12" fmla="*/ 2444687 w 3729800"/>
                <a:gd name="connsiteY12" fmla="*/ 2315718 h 3898677"/>
                <a:gd name="connsiteX13" fmla="*/ 1446181 w 3729800"/>
                <a:gd name="connsiteY13" fmla="*/ 3310699 h 3898677"/>
                <a:gd name="connsiteX14" fmla="*/ 1371314 w 3729800"/>
                <a:gd name="connsiteY14" fmla="*/ 3490341 h 3898677"/>
                <a:gd name="connsiteX15" fmla="*/ 1446181 w 3729800"/>
                <a:gd name="connsiteY15" fmla="*/ 3670840 h 3898677"/>
                <a:gd name="connsiteX16" fmla="*/ 1599819 w 3729800"/>
                <a:gd name="connsiteY16" fmla="*/ 3824002 h 3898677"/>
                <a:gd name="connsiteX17" fmla="*/ 1781175 w 3729800"/>
                <a:gd name="connsiteY17" fmla="*/ 3898678 h 3898677"/>
                <a:gd name="connsiteX18" fmla="*/ 1962531 w 3729800"/>
                <a:gd name="connsiteY18" fmla="*/ 3823716 h 3898677"/>
                <a:gd name="connsiteX19" fmla="*/ 3654933 w 3729800"/>
                <a:gd name="connsiteY19" fmla="*/ 2131314 h 3898677"/>
                <a:gd name="connsiteX20" fmla="*/ 3729799 w 3729800"/>
                <a:gd name="connsiteY20" fmla="*/ 1949387 h 3898677"/>
                <a:gd name="connsiteX21" fmla="*/ 3654933 w 3729800"/>
                <a:gd name="connsiteY21" fmla="*/ 1767268 h 389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729800" h="3898677">
                  <a:moveTo>
                    <a:pt x="3654933" y="1767268"/>
                  </a:moveTo>
                  <a:lnTo>
                    <a:pt x="1962531" y="74867"/>
                  </a:lnTo>
                  <a:cubicBezTo>
                    <a:pt x="1914239" y="26575"/>
                    <a:pt x="1849850" y="0"/>
                    <a:pt x="1781175" y="0"/>
                  </a:cubicBezTo>
                  <a:cubicBezTo>
                    <a:pt x="1712500" y="0"/>
                    <a:pt x="1648111" y="26575"/>
                    <a:pt x="1599819" y="74867"/>
                  </a:cubicBezTo>
                  <a:lnTo>
                    <a:pt x="1446181" y="228600"/>
                  </a:lnTo>
                  <a:cubicBezTo>
                    <a:pt x="1397889" y="276797"/>
                    <a:pt x="1371314" y="341281"/>
                    <a:pt x="1371314" y="409956"/>
                  </a:cubicBezTo>
                  <a:cubicBezTo>
                    <a:pt x="1371314" y="478631"/>
                    <a:pt x="1397889" y="545211"/>
                    <a:pt x="1446181" y="593408"/>
                  </a:cubicBezTo>
                  <a:lnTo>
                    <a:pt x="2433542" y="1582864"/>
                  </a:lnTo>
                  <a:lnTo>
                    <a:pt x="253175" y="1582864"/>
                  </a:lnTo>
                  <a:cubicBezTo>
                    <a:pt x="111728" y="1582864"/>
                    <a:pt x="0" y="1693545"/>
                    <a:pt x="0" y="1835087"/>
                  </a:cubicBezTo>
                  <a:lnTo>
                    <a:pt x="0" y="2052352"/>
                  </a:lnTo>
                  <a:cubicBezTo>
                    <a:pt x="0" y="2193798"/>
                    <a:pt x="111728" y="2315718"/>
                    <a:pt x="253175" y="2315718"/>
                  </a:cubicBezTo>
                  <a:lnTo>
                    <a:pt x="2444687" y="2315718"/>
                  </a:lnTo>
                  <a:lnTo>
                    <a:pt x="1446181" y="3310699"/>
                  </a:lnTo>
                  <a:cubicBezTo>
                    <a:pt x="1397889" y="3358991"/>
                    <a:pt x="1371314" y="3421666"/>
                    <a:pt x="1371314" y="3490341"/>
                  </a:cubicBezTo>
                  <a:cubicBezTo>
                    <a:pt x="1371314" y="3559016"/>
                    <a:pt x="1397889" y="3622548"/>
                    <a:pt x="1446181" y="3670840"/>
                  </a:cubicBezTo>
                  <a:lnTo>
                    <a:pt x="1599819" y="3824002"/>
                  </a:lnTo>
                  <a:cubicBezTo>
                    <a:pt x="1648111" y="3872294"/>
                    <a:pt x="1712500" y="3898678"/>
                    <a:pt x="1781175" y="3898678"/>
                  </a:cubicBezTo>
                  <a:cubicBezTo>
                    <a:pt x="1849850" y="3898678"/>
                    <a:pt x="1914239" y="3872008"/>
                    <a:pt x="1962531" y="3823716"/>
                  </a:cubicBezTo>
                  <a:lnTo>
                    <a:pt x="3654933" y="2131314"/>
                  </a:lnTo>
                  <a:cubicBezTo>
                    <a:pt x="3703320" y="2082832"/>
                    <a:pt x="3729990" y="2018157"/>
                    <a:pt x="3729799" y="1949387"/>
                  </a:cubicBezTo>
                  <a:cubicBezTo>
                    <a:pt x="3729990" y="1880426"/>
                    <a:pt x="3703320" y="1815656"/>
                    <a:pt x="3654933" y="1767268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07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FF6D9FC9-125A-4788-000C-F2819FCC24A0}"/>
              </a:ext>
            </a:extLst>
          </p:cNvPr>
          <p:cNvGrpSpPr/>
          <p:nvPr/>
        </p:nvGrpSpPr>
        <p:grpSpPr>
          <a:xfrm>
            <a:off x="8203769" y="1912763"/>
            <a:ext cx="340136" cy="340136"/>
            <a:chOff x="1402939" y="5065431"/>
            <a:chExt cx="340136" cy="340136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AF86464-ED1A-5CBF-9053-C7F6FEB177A3}"/>
                </a:ext>
              </a:extLst>
            </p:cNvPr>
            <p:cNvSpPr/>
            <p:nvPr/>
          </p:nvSpPr>
          <p:spPr>
            <a:xfrm>
              <a:off x="1402939" y="5065431"/>
              <a:ext cx="340136" cy="34013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0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Graphic 8">
              <a:extLst>
                <a:ext uri="{FF2B5EF4-FFF2-40B4-BE49-F238E27FC236}">
                  <a16:creationId xmlns:a16="http://schemas.microsoft.com/office/drawing/2014/main" id="{53D73256-B08D-3A54-2CD4-D6CC8FEBC658}"/>
                </a:ext>
              </a:extLst>
            </p:cNvPr>
            <p:cNvSpPr/>
            <p:nvPr/>
          </p:nvSpPr>
          <p:spPr>
            <a:xfrm>
              <a:off x="1475321" y="5133395"/>
              <a:ext cx="195370" cy="204212"/>
            </a:xfrm>
            <a:custGeom>
              <a:avLst/>
              <a:gdLst>
                <a:gd name="connsiteX0" fmla="*/ 3654933 w 3729800"/>
                <a:gd name="connsiteY0" fmla="*/ 1767268 h 3898677"/>
                <a:gd name="connsiteX1" fmla="*/ 1962531 w 3729800"/>
                <a:gd name="connsiteY1" fmla="*/ 74867 h 3898677"/>
                <a:gd name="connsiteX2" fmla="*/ 1781175 w 3729800"/>
                <a:gd name="connsiteY2" fmla="*/ 0 h 3898677"/>
                <a:gd name="connsiteX3" fmla="*/ 1599819 w 3729800"/>
                <a:gd name="connsiteY3" fmla="*/ 74867 h 3898677"/>
                <a:gd name="connsiteX4" fmla="*/ 1446181 w 3729800"/>
                <a:gd name="connsiteY4" fmla="*/ 228600 h 3898677"/>
                <a:gd name="connsiteX5" fmla="*/ 1371314 w 3729800"/>
                <a:gd name="connsiteY5" fmla="*/ 409956 h 3898677"/>
                <a:gd name="connsiteX6" fmla="*/ 1446181 w 3729800"/>
                <a:gd name="connsiteY6" fmla="*/ 593408 h 3898677"/>
                <a:gd name="connsiteX7" fmla="*/ 2433542 w 3729800"/>
                <a:gd name="connsiteY7" fmla="*/ 1582864 h 3898677"/>
                <a:gd name="connsiteX8" fmla="*/ 253175 w 3729800"/>
                <a:gd name="connsiteY8" fmla="*/ 1582864 h 3898677"/>
                <a:gd name="connsiteX9" fmla="*/ 0 w 3729800"/>
                <a:gd name="connsiteY9" fmla="*/ 1835087 h 3898677"/>
                <a:gd name="connsiteX10" fmla="*/ 0 w 3729800"/>
                <a:gd name="connsiteY10" fmla="*/ 2052352 h 3898677"/>
                <a:gd name="connsiteX11" fmla="*/ 253175 w 3729800"/>
                <a:gd name="connsiteY11" fmla="*/ 2315718 h 3898677"/>
                <a:gd name="connsiteX12" fmla="*/ 2444687 w 3729800"/>
                <a:gd name="connsiteY12" fmla="*/ 2315718 h 3898677"/>
                <a:gd name="connsiteX13" fmla="*/ 1446181 w 3729800"/>
                <a:gd name="connsiteY13" fmla="*/ 3310699 h 3898677"/>
                <a:gd name="connsiteX14" fmla="*/ 1371314 w 3729800"/>
                <a:gd name="connsiteY14" fmla="*/ 3490341 h 3898677"/>
                <a:gd name="connsiteX15" fmla="*/ 1446181 w 3729800"/>
                <a:gd name="connsiteY15" fmla="*/ 3670840 h 3898677"/>
                <a:gd name="connsiteX16" fmla="*/ 1599819 w 3729800"/>
                <a:gd name="connsiteY16" fmla="*/ 3824002 h 3898677"/>
                <a:gd name="connsiteX17" fmla="*/ 1781175 w 3729800"/>
                <a:gd name="connsiteY17" fmla="*/ 3898678 h 3898677"/>
                <a:gd name="connsiteX18" fmla="*/ 1962531 w 3729800"/>
                <a:gd name="connsiteY18" fmla="*/ 3823716 h 3898677"/>
                <a:gd name="connsiteX19" fmla="*/ 3654933 w 3729800"/>
                <a:gd name="connsiteY19" fmla="*/ 2131314 h 3898677"/>
                <a:gd name="connsiteX20" fmla="*/ 3729799 w 3729800"/>
                <a:gd name="connsiteY20" fmla="*/ 1949387 h 3898677"/>
                <a:gd name="connsiteX21" fmla="*/ 3654933 w 3729800"/>
                <a:gd name="connsiteY21" fmla="*/ 1767268 h 389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729800" h="3898677">
                  <a:moveTo>
                    <a:pt x="3654933" y="1767268"/>
                  </a:moveTo>
                  <a:lnTo>
                    <a:pt x="1962531" y="74867"/>
                  </a:lnTo>
                  <a:cubicBezTo>
                    <a:pt x="1914239" y="26575"/>
                    <a:pt x="1849850" y="0"/>
                    <a:pt x="1781175" y="0"/>
                  </a:cubicBezTo>
                  <a:cubicBezTo>
                    <a:pt x="1712500" y="0"/>
                    <a:pt x="1648111" y="26575"/>
                    <a:pt x="1599819" y="74867"/>
                  </a:cubicBezTo>
                  <a:lnTo>
                    <a:pt x="1446181" y="228600"/>
                  </a:lnTo>
                  <a:cubicBezTo>
                    <a:pt x="1397889" y="276797"/>
                    <a:pt x="1371314" y="341281"/>
                    <a:pt x="1371314" y="409956"/>
                  </a:cubicBezTo>
                  <a:cubicBezTo>
                    <a:pt x="1371314" y="478631"/>
                    <a:pt x="1397889" y="545211"/>
                    <a:pt x="1446181" y="593408"/>
                  </a:cubicBezTo>
                  <a:lnTo>
                    <a:pt x="2433542" y="1582864"/>
                  </a:lnTo>
                  <a:lnTo>
                    <a:pt x="253175" y="1582864"/>
                  </a:lnTo>
                  <a:cubicBezTo>
                    <a:pt x="111728" y="1582864"/>
                    <a:pt x="0" y="1693545"/>
                    <a:pt x="0" y="1835087"/>
                  </a:cubicBezTo>
                  <a:lnTo>
                    <a:pt x="0" y="2052352"/>
                  </a:lnTo>
                  <a:cubicBezTo>
                    <a:pt x="0" y="2193798"/>
                    <a:pt x="111728" y="2315718"/>
                    <a:pt x="253175" y="2315718"/>
                  </a:cubicBezTo>
                  <a:lnTo>
                    <a:pt x="2444687" y="2315718"/>
                  </a:lnTo>
                  <a:lnTo>
                    <a:pt x="1446181" y="3310699"/>
                  </a:lnTo>
                  <a:cubicBezTo>
                    <a:pt x="1397889" y="3358991"/>
                    <a:pt x="1371314" y="3421666"/>
                    <a:pt x="1371314" y="3490341"/>
                  </a:cubicBezTo>
                  <a:cubicBezTo>
                    <a:pt x="1371314" y="3559016"/>
                    <a:pt x="1397889" y="3622548"/>
                    <a:pt x="1446181" y="3670840"/>
                  </a:cubicBezTo>
                  <a:lnTo>
                    <a:pt x="1599819" y="3824002"/>
                  </a:lnTo>
                  <a:cubicBezTo>
                    <a:pt x="1648111" y="3872294"/>
                    <a:pt x="1712500" y="3898678"/>
                    <a:pt x="1781175" y="3898678"/>
                  </a:cubicBezTo>
                  <a:cubicBezTo>
                    <a:pt x="1849850" y="3898678"/>
                    <a:pt x="1914239" y="3872008"/>
                    <a:pt x="1962531" y="3823716"/>
                  </a:cubicBezTo>
                  <a:lnTo>
                    <a:pt x="3654933" y="2131314"/>
                  </a:lnTo>
                  <a:cubicBezTo>
                    <a:pt x="3703320" y="2082832"/>
                    <a:pt x="3729990" y="2018157"/>
                    <a:pt x="3729799" y="1949387"/>
                  </a:cubicBezTo>
                  <a:cubicBezTo>
                    <a:pt x="3729990" y="1880426"/>
                    <a:pt x="3703320" y="1815656"/>
                    <a:pt x="3654933" y="1767268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07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3C2EE47-CD70-DA78-9481-BE9E83E36295}"/>
              </a:ext>
            </a:extLst>
          </p:cNvPr>
          <p:cNvGrpSpPr/>
          <p:nvPr/>
        </p:nvGrpSpPr>
        <p:grpSpPr>
          <a:xfrm>
            <a:off x="8203769" y="4064835"/>
            <a:ext cx="340136" cy="340136"/>
            <a:chOff x="1402939" y="5065431"/>
            <a:chExt cx="340136" cy="340136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BD652C2C-083F-FA8E-9A3E-0221F07BA631}"/>
                </a:ext>
              </a:extLst>
            </p:cNvPr>
            <p:cNvSpPr/>
            <p:nvPr/>
          </p:nvSpPr>
          <p:spPr>
            <a:xfrm>
              <a:off x="1402939" y="5065431"/>
              <a:ext cx="340136" cy="34013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0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Graphic 8">
              <a:extLst>
                <a:ext uri="{FF2B5EF4-FFF2-40B4-BE49-F238E27FC236}">
                  <a16:creationId xmlns:a16="http://schemas.microsoft.com/office/drawing/2014/main" id="{C1BD89AE-D29C-281C-D245-17997788A769}"/>
                </a:ext>
              </a:extLst>
            </p:cNvPr>
            <p:cNvSpPr/>
            <p:nvPr/>
          </p:nvSpPr>
          <p:spPr>
            <a:xfrm>
              <a:off x="1475321" y="5133395"/>
              <a:ext cx="195370" cy="204212"/>
            </a:xfrm>
            <a:custGeom>
              <a:avLst/>
              <a:gdLst>
                <a:gd name="connsiteX0" fmla="*/ 3654933 w 3729800"/>
                <a:gd name="connsiteY0" fmla="*/ 1767268 h 3898677"/>
                <a:gd name="connsiteX1" fmla="*/ 1962531 w 3729800"/>
                <a:gd name="connsiteY1" fmla="*/ 74867 h 3898677"/>
                <a:gd name="connsiteX2" fmla="*/ 1781175 w 3729800"/>
                <a:gd name="connsiteY2" fmla="*/ 0 h 3898677"/>
                <a:gd name="connsiteX3" fmla="*/ 1599819 w 3729800"/>
                <a:gd name="connsiteY3" fmla="*/ 74867 h 3898677"/>
                <a:gd name="connsiteX4" fmla="*/ 1446181 w 3729800"/>
                <a:gd name="connsiteY4" fmla="*/ 228600 h 3898677"/>
                <a:gd name="connsiteX5" fmla="*/ 1371314 w 3729800"/>
                <a:gd name="connsiteY5" fmla="*/ 409956 h 3898677"/>
                <a:gd name="connsiteX6" fmla="*/ 1446181 w 3729800"/>
                <a:gd name="connsiteY6" fmla="*/ 593408 h 3898677"/>
                <a:gd name="connsiteX7" fmla="*/ 2433542 w 3729800"/>
                <a:gd name="connsiteY7" fmla="*/ 1582864 h 3898677"/>
                <a:gd name="connsiteX8" fmla="*/ 253175 w 3729800"/>
                <a:gd name="connsiteY8" fmla="*/ 1582864 h 3898677"/>
                <a:gd name="connsiteX9" fmla="*/ 0 w 3729800"/>
                <a:gd name="connsiteY9" fmla="*/ 1835087 h 3898677"/>
                <a:gd name="connsiteX10" fmla="*/ 0 w 3729800"/>
                <a:gd name="connsiteY10" fmla="*/ 2052352 h 3898677"/>
                <a:gd name="connsiteX11" fmla="*/ 253175 w 3729800"/>
                <a:gd name="connsiteY11" fmla="*/ 2315718 h 3898677"/>
                <a:gd name="connsiteX12" fmla="*/ 2444687 w 3729800"/>
                <a:gd name="connsiteY12" fmla="*/ 2315718 h 3898677"/>
                <a:gd name="connsiteX13" fmla="*/ 1446181 w 3729800"/>
                <a:gd name="connsiteY13" fmla="*/ 3310699 h 3898677"/>
                <a:gd name="connsiteX14" fmla="*/ 1371314 w 3729800"/>
                <a:gd name="connsiteY14" fmla="*/ 3490341 h 3898677"/>
                <a:gd name="connsiteX15" fmla="*/ 1446181 w 3729800"/>
                <a:gd name="connsiteY15" fmla="*/ 3670840 h 3898677"/>
                <a:gd name="connsiteX16" fmla="*/ 1599819 w 3729800"/>
                <a:gd name="connsiteY16" fmla="*/ 3824002 h 3898677"/>
                <a:gd name="connsiteX17" fmla="*/ 1781175 w 3729800"/>
                <a:gd name="connsiteY17" fmla="*/ 3898678 h 3898677"/>
                <a:gd name="connsiteX18" fmla="*/ 1962531 w 3729800"/>
                <a:gd name="connsiteY18" fmla="*/ 3823716 h 3898677"/>
                <a:gd name="connsiteX19" fmla="*/ 3654933 w 3729800"/>
                <a:gd name="connsiteY19" fmla="*/ 2131314 h 3898677"/>
                <a:gd name="connsiteX20" fmla="*/ 3729799 w 3729800"/>
                <a:gd name="connsiteY20" fmla="*/ 1949387 h 3898677"/>
                <a:gd name="connsiteX21" fmla="*/ 3654933 w 3729800"/>
                <a:gd name="connsiteY21" fmla="*/ 1767268 h 389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729800" h="3898677">
                  <a:moveTo>
                    <a:pt x="3654933" y="1767268"/>
                  </a:moveTo>
                  <a:lnTo>
                    <a:pt x="1962531" y="74867"/>
                  </a:lnTo>
                  <a:cubicBezTo>
                    <a:pt x="1914239" y="26575"/>
                    <a:pt x="1849850" y="0"/>
                    <a:pt x="1781175" y="0"/>
                  </a:cubicBezTo>
                  <a:cubicBezTo>
                    <a:pt x="1712500" y="0"/>
                    <a:pt x="1648111" y="26575"/>
                    <a:pt x="1599819" y="74867"/>
                  </a:cubicBezTo>
                  <a:lnTo>
                    <a:pt x="1446181" y="228600"/>
                  </a:lnTo>
                  <a:cubicBezTo>
                    <a:pt x="1397889" y="276797"/>
                    <a:pt x="1371314" y="341281"/>
                    <a:pt x="1371314" y="409956"/>
                  </a:cubicBezTo>
                  <a:cubicBezTo>
                    <a:pt x="1371314" y="478631"/>
                    <a:pt x="1397889" y="545211"/>
                    <a:pt x="1446181" y="593408"/>
                  </a:cubicBezTo>
                  <a:lnTo>
                    <a:pt x="2433542" y="1582864"/>
                  </a:lnTo>
                  <a:lnTo>
                    <a:pt x="253175" y="1582864"/>
                  </a:lnTo>
                  <a:cubicBezTo>
                    <a:pt x="111728" y="1582864"/>
                    <a:pt x="0" y="1693545"/>
                    <a:pt x="0" y="1835087"/>
                  </a:cubicBezTo>
                  <a:lnTo>
                    <a:pt x="0" y="2052352"/>
                  </a:lnTo>
                  <a:cubicBezTo>
                    <a:pt x="0" y="2193798"/>
                    <a:pt x="111728" y="2315718"/>
                    <a:pt x="253175" y="2315718"/>
                  </a:cubicBezTo>
                  <a:lnTo>
                    <a:pt x="2444687" y="2315718"/>
                  </a:lnTo>
                  <a:lnTo>
                    <a:pt x="1446181" y="3310699"/>
                  </a:lnTo>
                  <a:cubicBezTo>
                    <a:pt x="1397889" y="3358991"/>
                    <a:pt x="1371314" y="3421666"/>
                    <a:pt x="1371314" y="3490341"/>
                  </a:cubicBezTo>
                  <a:cubicBezTo>
                    <a:pt x="1371314" y="3559016"/>
                    <a:pt x="1397889" y="3622548"/>
                    <a:pt x="1446181" y="3670840"/>
                  </a:cubicBezTo>
                  <a:lnTo>
                    <a:pt x="1599819" y="3824002"/>
                  </a:lnTo>
                  <a:cubicBezTo>
                    <a:pt x="1648111" y="3872294"/>
                    <a:pt x="1712500" y="3898678"/>
                    <a:pt x="1781175" y="3898678"/>
                  </a:cubicBezTo>
                  <a:cubicBezTo>
                    <a:pt x="1849850" y="3898678"/>
                    <a:pt x="1914239" y="3872008"/>
                    <a:pt x="1962531" y="3823716"/>
                  </a:cubicBezTo>
                  <a:lnTo>
                    <a:pt x="3654933" y="2131314"/>
                  </a:lnTo>
                  <a:cubicBezTo>
                    <a:pt x="3703320" y="2082832"/>
                    <a:pt x="3729990" y="2018157"/>
                    <a:pt x="3729799" y="1949387"/>
                  </a:cubicBezTo>
                  <a:cubicBezTo>
                    <a:pt x="3729990" y="1880426"/>
                    <a:pt x="3703320" y="1815656"/>
                    <a:pt x="3654933" y="1767268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07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98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9689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1AF174-A9E3-CEC0-7108-FF363CE0C4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Website Layout Design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0D55C17C-09C1-988C-8A9B-238619E1ABB3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AU" dirty="0"/>
              <a:t>For a tool that focuses data visualisations, a simplistic design would be best</a:t>
            </a:r>
          </a:p>
          <a:p>
            <a:r>
              <a:rPr lang="en-AU" dirty="0"/>
              <a:t>Avoid fancy all over the place designs</a:t>
            </a:r>
          </a:p>
          <a:p>
            <a:r>
              <a:rPr lang="en-AU" dirty="0"/>
              <a:t>Provide insightful visualisations, easy to understand and clear</a:t>
            </a:r>
          </a:p>
          <a:p>
            <a:pPr marL="0" indent="0">
              <a:buNone/>
            </a:pPr>
            <a:r>
              <a:rPr lang="en-AU" dirty="0"/>
              <a:t>-----------------------------------------------------------</a:t>
            </a:r>
          </a:p>
          <a:p>
            <a:pPr>
              <a:buFont typeface="Wingdings" panose="05000000000000000000" pitchFamily="2" charset="2"/>
              <a:buChar char="è"/>
            </a:pPr>
            <a:r>
              <a:rPr lang="en-AU" dirty="0"/>
              <a:t>Navbar</a:t>
            </a:r>
          </a:p>
          <a:p>
            <a:pPr>
              <a:buFont typeface="Wingdings" panose="05000000000000000000" pitchFamily="2" charset="2"/>
              <a:buChar char="è"/>
            </a:pPr>
            <a:r>
              <a:rPr lang="en-AU" dirty="0"/>
              <a:t>Upload section</a:t>
            </a:r>
          </a:p>
          <a:p>
            <a:pPr>
              <a:buFont typeface="Wingdings" panose="05000000000000000000" pitchFamily="2" charset="2"/>
              <a:buChar char="è"/>
            </a:pPr>
            <a:r>
              <a:rPr lang="en-AU" dirty="0"/>
              <a:t>Visualisation specifier </a:t>
            </a:r>
          </a:p>
          <a:p>
            <a:pPr>
              <a:buFont typeface="Wingdings" panose="05000000000000000000" pitchFamily="2" charset="2"/>
              <a:buChar char="è"/>
            </a:pPr>
            <a:r>
              <a:rPr lang="en-AU" dirty="0"/>
              <a:t>Visual output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A6C80F45-A584-DB06-9492-AB5292545DC8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514494" y="1475105"/>
            <a:ext cx="5566159" cy="3071958"/>
          </a:xfrm>
        </p:spPr>
      </p:pic>
    </p:spTree>
    <p:extLst>
      <p:ext uri="{BB962C8B-B14F-4D97-AF65-F5344CB8AC3E}">
        <p14:creationId xmlns:p14="http://schemas.microsoft.com/office/powerpoint/2010/main" val="1840911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171EC2-C476-6719-BB59-48C1B947F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Obtaining data and creating outputs (1</a:t>
            </a:r>
            <a:r>
              <a:rPr lang="en-AU" baseline="30000" dirty="0"/>
              <a:t>st</a:t>
            </a:r>
            <a:r>
              <a:rPr lang="en-AU" dirty="0"/>
              <a:t> page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6C18CC-6D40-E15A-0940-5501741BDBA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AU" dirty="0"/>
              <a:t>Data obtained was:</a:t>
            </a:r>
          </a:p>
          <a:p>
            <a:pPr>
              <a:buFont typeface="Wingdings" panose="05000000000000000000" pitchFamily="2" charset="2"/>
              <a:buChar char="è"/>
            </a:pPr>
            <a:r>
              <a:rPr lang="en-AU" dirty="0"/>
              <a:t>Income vs age groups</a:t>
            </a:r>
          </a:p>
          <a:p>
            <a:pPr>
              <a:buFont typeface="Wingdings" panose="05000000000000000000" pitchFamily="2" charset="2"/>
              <a:buChar char="è"/>
            </a:pPr>
            <a:r>
              <a:rPr lang="en-AU" dirty="0"/>
              <a:t>Average taxable income across Australian postcodes</a:t>
            </a:r>
          </a:p>
          <a:p>
            <a:pPr>
              <a:buFont typeface="Wingdings" panose="05000000000000000000" pitchFamily="2" charset="2"/>
              <a:buChar char="è"/>
            </a:pPr>
            <a:r>
              <a:rPr lang="en-AU" dirty="0"/>
              <a:t>Incomes vs postcode in Sydney (dummy data)</a:t>
            </a:r>
          </a:p>
          <a:p>
            <a:pPr marL="0" indent="0">
              <a:buNone/>
            </a:pPr>
            <a:r>
              <a:rPr lang="en-AU" dirty="0"/>
              <a:t>-----------------------------------------------------------</a:t>
            </a:r>
          </a:p>
          <a:p>
            <a:r>
              <a:rPr lang="en-AU" dirty="0"/>
              <a:t>Bubble plot</a:t>
            </a:r>
          </a:p>
          <a:p>
            <a:r>
              <a:rPr lang="en-AU" dirty="0"/>
              <a:t>Geographical bubble plot</a:t>
            </a:r>
          </a:p>
          <a:p>
            <a:r>
              <a:rPr lang="en-AU" dirty="0"/>
              <a:t>Hexabin plo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C4952E3-F63D-EA71-FFBA-17A9BABB2382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AU" dirty="0"/>
              <a:t>What data is available? </a:t>
            </a:r>
          </a:p>
          <a:p>
            <a:r>
              <a:rPr lang="en-AU" dirty="0"/>
              <a:t>How could the data be visualised? </a:t>
            </a:r>
          </a:p>
          <a:p>
            <a:pPr marL="0" indent="0">
              <a:buNone/>
            </a:pP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125477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7037&quot;&gt;&lt;version val=&quot;3301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1.00000000000000000000E+00&quot;&gt;&lt;m_msothmcolidx val=&quot;0&quot;/&gt;&lt;m_rgb r=&quot;00&quot; g=&quot;99&quot; b=&quot;C8&quot;/&gt;&lt;/elem&gt;&lt;elem m_fUsage=&quot;9.00000000000000022204E-01&quot;&gt;&lt;m_msothmcolidx val=&quot;0&quot;/&gt;&lt;m_rgb r=&quot;77&quot; g=&quot;BD&quot; b=&quot;43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ustom Design">
  <a:themeElements>
    <a:clrScheme name="Hub24 Master theme">
      <a:dk1>
        <a:srgbClr val="474747"/>
      </a:dk1>
      <a:lt1>
        <a:sysClr val="window" lastClr="FFFFFF"/>
      </a:lt1>
      <a:dk2>
        <a:srgbClr val="474747"/>
      </a:dk2>
      <a:lt2>
        <a:srgbClr val="FFFFFF"/>
      </a:lt2>
      <a:accent1>
        <a:srgbClr val="1F2D68"/>
      </a:accent1>
      <a:accent2>
        <a:srgbClr val="0099C8"/>
      </a:accent2>
      <a:accent3>
        <a:srgbClr val="FFBE37"/>
      </a:accent3>
      <a:accent4>
        <a:srgbClr val="0563C1"/>
      </a:accent4>
      <a:accent5>
        <a:srgbClr val="146EA3"/>
      </a:accent5>
      <a:accent6>
        <a:srgbClr val="954F72"/>
      </a:accent6>
      <a:hlink>
        <a:srgbClr val="0099C8"/>
      </a:hlink>
      <a:folHlink>
        <a:srgbClr val="0099C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72782D5E-641F-C84E-B86E-5E2F330B3C69}" vid="{6A297C34-D476-B543-8769-AFEF27477CF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a20e57c8-7e71-46f4-b8f4-036e2dd53d1f" xsi:nil="true"/>
    <TaxCatchAll xmlns="c95e85c1-c555-426c-a206-c5c89d030dbb" xsi:nil="true"/>
    <lcf76f155ced4ddcb4097134ff3c332f xmlns="a20e57c8-7e71-46f4-b8f4-036e2dd53d1f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8D810EBBBEAA747A9CDAFC27C503479" ma:contentTypeVersion="" ma:contentTypeDescription="Create a new document." ma:contentTypeScope="" ma:versionID="9eeba90c636b9bae7e248a64c7af4cb3">
  <xsd:schema xmlns:xsd="http://www.w3.org/2001/XMLSchema" xmlns:xs="http://www.w3.org/2001/XMLSchema" xmlns:p="http://schemas.microsoft.com/office/2006/metadata/properties" xmlns:ns2="a20e57c8-7e71-46f4-b8f4-036e2dd53d1f" xmlns:ns3="c95e85c1-c555-426c-a206-c5c89d030dbb" xmlns:ns4="e5faf4f9-4115-47f1-a419-5e61fb0585e2" targetNamespace="http://schemas.microsoft.com/office/2006/metadata/properties" ma:root="true" ma:fieldsID="5e80def3531e8dfd8d8f1727b3cac43b" ns2:_="" ns3:_="" ns4:_="">
    <xsd:import namespace="a20e57c8-7e71-46f4-b8f4-036e2dd53d1f"/>
    <xsd:import namespace="c95e85c1-c555-426c-a206-c5c89d030dbb"/>
    <xsd:import namespace="e5faf4f9-4115-47f1-a419-5e61fb0585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4:SharedWithUsers" minOccurs="0"/>
                <xsd:element ref="ns4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0e57c8-7e71-46f4-b8f4-036e2dd53d1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dde7da72-0557-45ef-976a-18195991ef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5e85c1-c555-426c-a206-c5c89d030dbb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062E4738-AEF2-4044-B84C-FAF67A8D583B}" ma:internalName="TaxCatchAll" ma:showField="CatchAllData" ma:web="{e5faf4f9-4115-47f1-a419-5e61fb0585e2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faf4f9-4115-47f1-a419-5e61fb0585e2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D3B4202-2FF8-4176-9743-B93834FD4D05}">
  <ds:schemaRefs>
    <ds:schemaRef ds:uri="http://purl.org/dc/terms/"/>
    <ds:schemaRef ds:uri="http://purl.org/dc/dcmitype/"/>
    <ds:schemaRef ds:uri="http://schemas.microsoft.com/office/2006/documentManagement/types"/>
    <ds:schemaRef ds:uri="http://purl.org/dc/elements/1.1/"/>
    <ds:schemaRef ds:uri="e5faf4f9-4115-47f1-a419-5e61fb0585e2"/>
    <ds:schemaRef ds:uri="http://schemas.microsoft.com/office/infopath/2007/PartnerControls"/>
    <ds:schemaRef ds:uri="a20e57c8-7e71-46f4-b8f4-036e2dd53d1f"/>
    <ds:schemaRef ds:uri="http://www.w3.org/XML/1998/namespace"/>
    <ds:schemaRef ds:uri="http://schemas.openxmlformats.org/package/2006/metadata/core-properties"/>
    <ds:schemaRef ds:uri="c95e85c1-c555-426c-a206-c5c89d030dbb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D9F973A9-A3D0-4605-BA05-BE4A09616D0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0e57c8-7e71-46f4-b8f4-036e2dd53d1f"/>
    <ds:schemaRef ds:uri="c95e85c1-c555-426c-a206-c5c89d030dbb"/>
    <ds:schemaRef ds:uri="e5faf4f9-4115-47f1-a419-5e61fb0585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0E0575A-7EE2-497A-B5B6-FE18773A428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UB24_Master template</Template>
  <TotalTime>10121</TotalTime>
  <Words>1053</Words>
  <Application>Microsoft Office PowerPoint</Application>
  <PresentationFormat>Widescreen</PresentationFormat>
  <Paragraphs>149</Paragraphs>
  <Slides>2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7" baseType="lpstr">
      <vt:lpstr>Arial</vt:lpstr>
      <vt:lpstr>Calibri</vt:lpstr>
      <vt:lpstr>Wingdings</vt:lpstr>
      <vt:lpstr>1_Custom Design</vt:lpstr>
      <vt:lpstr>think-cell Slide</vt:lpstr>
      <vt:lpstr>Data Visualisation Project</vt:lpstr>
      <vt:lpstr>Contents</vt:lpstr>
      <vt:lpstr>Project Overview</vt:lpstr>
      <vt:lpstr>Project Outline</vt:lpstr>
      <vt:lpstr>Proposed Outcomes</vt:lpstr>
      <vt:lpstr>Solution Plan</vt:lpstr>
      <vt:lpstr>Medium Selection</vt:lpstr>
      <vt:lpstr>Website Layout Design</vt:lpstr>
      <vt:lpstr>Obtaining data and creating outputs (1st page)</vt:lpstr>
      <vt:lpstr>Tracking Investor Performance (2nd page)</vt:lpstr>
      <vt:lpstr>2ND Page</vt:lpstr>
      <vt:lpstr>Sales page &amp; asset portfolio visualisations (3rd Page)</vt:lpstr>
      <vt:lpstr>AI Chatbot integration (4th Page)</vt:lpstr>
      <vt:lpstr>ASX200 Forecasting with Markov Chains</vt:lpstr>
      <vt:lpstr>Bitcoin Digital Currency Forecasting -&gt; ML Solution</vt:lpstr>
      <vt:lpstr>Why LSTM Model? </vt:lpstr>
      <vt:lpstr>What to use for BTC forecasting? </vt:lpstr>
      <vt:lpstr>BTC Prediction Results</vt:lpstr>
      <vt:lpstr>Demo Time</vt:lpstr>
      <vt:lpstr>Final Thoughts</vt:lpstr>
      <vt:lpstr>Personal Takeaway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Visualisation Project</dc:title>
  <dc:creator>Newton Long</dc:creator>
  <cp:lastModifiedBy>Newton Long</cp:lastModifiedBy>
  <cp:revision>8</cp:revision>
  <cp:lastPrinted>2022-08-22T04:44:09Z</cp:lastPrinted>
  <dcterms:created xsi:type="dcterms:W3CDTF">2024-01-23T00:22:08Z</dcterms:created>
  <dcterms:modified xsi:type="dcterms:W3CDTF">2024-02-15T01:57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D810EBBBEAA747A9CDAFC27C503479</vt:lpwstr>
  </property>
  <property fmtid="{D5CDD505-2E9C-101B-9397-08002B2CF9AE}" pid="3" name="Order">
    <vt:lpwstr>12400.0000000000</vt:lpwstr>
  </property>
  <property fmtid="{D5CDD505-2E9C-101B-9397-08002B2CF9AE}" pid="4" name="xd_ProgID">
    <vt:lpwstr/>
  </property>
  <property fmtid="{D5CDD505-2E9C-101B-9397-08002B2CF9AE}" pid="5" name="MediaServiceImageTags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</Properties>
</file>